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70" r:id="rId5"/>
    <p:sldMasterId id="2147483682" r:id="rId6"/>
    <p:sldMasterId id="2147483687" r:id="rId7"/>
    <p:sldMasterId id="2147483712" r:id="rId8"/>
    <p:sldMasterId id="2147483743" r:id="rId9"/>
  </p:sldMasterIdLst>
  <p:notesMasterIdLst>
    <p:notesMasterId r:id="rId15"/>
  </p:notesMasterIdLst>
  <p:sldIdLst>
    <p:sldId id="2146848069" r:id="rId10"/>
    <p:sldId id="2147472414" r:id="rId11"/>
    <p:sldId id="2147472412" r:id="rId12"/>
    <p:sldId id="2147472415" r:id="rId13"/>
    <p:sldId id="263" r:id="rId14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A862860-CE5F-0FDA-583D-8483729D6E5E}" name="JESUS PEÑA GARCIA-OLIVA" initials="JPGO" userId="S::jesus.penagarcia-oliva@telefonica.com::7d41a567-5069-43ef-9938-30b9261cc6cc" providerId="AD"/>
  <p188:author id="{FA8AEEE4-13D9-1FDE-3576-86005E69E87A}" name="José Luis Urien Pinedo" initials="JP" userId="S::joseluis.urienpinedo@telefonica.com::d068e45e-a3af-46a4-8b86-a333bc7ffe8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A3FF"/>
    <a:srgbClr val="CBE1F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24EC01-7C0B-4B85-8F1D-7E7360585EFE}" vWet="2" dt="2022-10-26T08:52:01.028"/>
    <p1510:client id="{6EC0E91B-C566-03EF-EB82-5D8797F591C8}" v="8" dt="2022-10-26T08:59:56.667"/>
    <p1510:client id="{85733EB0-2160-45F0-3FC2-E1BB03B22E37}" v="2" dt="2022-10-25T10:15:59.056"/>
    <p1510:client id="{9691DBB5-5F9A-484E-9FA3-63E28A69002B}" v="1552" dt="2022-10-25T11:04:07.108"/>
    <p1510:client id="{C10CEFD1-F6D7-4FDC-8DDB-057F34922C2A}" vWet="2" dt="2022-10-26T08:52:37.068"/>
    <p1510:client id="{F6150015-5186-44F8-A811-34D09F57DCF5}" v="7" dt="2022-10-24T17:53:39.9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ADE205-8932-4E6A-850C-83D6600F625F}" type="datetimeFigureOut">
              <a:rPr lang="es-ES" smtClean="0"/>
              <a:t>2/11/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66A0DB-9E86-4854-9BC3-D32C2DD5861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9791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</a:t>
            </a:fld>
            <a:endParaRPr lang="es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340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6C3898-AFF7-6245-8B5C-06211330E494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9205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6C3898-AFF7-6245-8B5C-06211330E494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1101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Relationship Id="rId6" Type="http://schemas.openxmlformats.org/officeDocument/2006/relationships/image" Target="../media/image27.svg"/><Relationship Id="rId5" Type="http://schemas.openxmlformats.org/officeDocument/2006/relationships/image" Target="../media/image1.png"/><Relationship Id="rId4" Type="http://schemas.openxmlformats.org/officeDocument/2006/relationships/image" Target="../media/image26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2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38F847B-B1D5-6E4F-BAF3-178C29398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69" y="1872681"/>
            <a:ext cx="2966654" cy="33261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0E77A328-002E-C148-B1FB-AB2185096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1403" y="1668457"/>
            <a:ext cx="3599141" cy="307340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6FF4BFE9-A3A9-7749-B879-E60B1A2B8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87277" y="1552047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A5E3CCB4-43EF-DB40-B50F-80B1F61C6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169" y="2595583"/>
            <a:ext cx="2973850" cy="320363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5C2665B6-DB56-C84D-93D8-D2148DCE3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91403" y="2391359"/>
            <a:ext cx="3599141" cy="311501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5" name="Marcador de texto 15">
            <a:extLst>
              <a:ext uri="{FF2B5EF4-FFF2-40B4-BE49-F238E27FC236}">
                <a16:creationId xmlns:a16="http://schemas.microsoft.com/office/drawing/2014/main" id="{DD88DE94-DE9B-9548-BFC2-D597A4F56D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7277" y="2274950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238F629-2A35-E441-ACA7-961CE41BCB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168" y="3313699"/>
            <a:ext cx="2968439" cy="320161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99B269-59E4-0B4F-81BF-633D66B8F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91403" y="3109475"/>
            <a:ext cx="3599141" cy="310229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9" name="Marcador de texto 15">
            <a:extLst>
              <a:ext uri="{FF2B5EF4-FFF2-40B4-BE49-F238E27FC236}">
                <a16:creationId xmlns:a16="http://schemas.microsoft.com/office/drawing/2014/main" id="{BD215A62-CE58-5A40-8F34-663CF9B6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87277" y="299306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497BDA8-8421-3B42-81A4-19F74C7927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169" y="4041389"/>
            <a:ext cx="2968438" cy="35320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1546160F-867A-244D-8E88-CD46998AE6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1403" y="3837165"/>
            <a:ext cx="3599141" cy="30255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3" name="Marcador de texto 15">
            <a:extLst>
              <a:ext uri="{FF2B5EF4-FFF2-40B4-BE49-F238E27FC236}">
                <a16:creationId xmlns:a16="http://schemas.microsoft.com/office/drawing/2014/main" id="{EF575985-D360-5E41-8BDC-2D3954DA6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7277" y="372075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619D7DE5-779D-9A4B-9FD8-5B4C17758E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3169" y="4754718"/>
            <a:ext cx="2974806" cy="358968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54F9FAF-4483-154B-863B-3F4E682EA9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1403" y="4550494"/>
            <a:ext cx="3599141" cy="302552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7" name="Marcador de texto 15">
            <a:extLst>
              <a:ext uri="{FF2B5EF4-FFF2-40B4-BE49-F238E27FC236}">
                <a16:creationId xmlns:a16="http://schemas.microsoft.com/office/drawing/2014/main" id="{3C9D978E-0D85-CF4B-ACA3-2FE2F3B2D1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277" y="4434084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4" name="Marcador de texto 83">
            <a:extLst>
              <a:ext uri="{FF2B5EF4-FFF2-40B4-BE49-F238E27FC236}">
                <a16:creationId xmlns:a16="http://schemas.microsoft.com/office/drawing/2014/main" id="{FFB93D1C-610E-6E41-AAF3-2570F64012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5017" y="2275888"/>
            <a:ext cx="2982002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5" name="Marcador de texto 83">
            <a:extLst>
              <a:ext uri="{FF2B5EF4-FFF2-40B4-BE49-F238E27FC236}">
                <a16:creationId xmlns:a16="http://schemas.microsoft.com/office/drawing/2014/main" id="{74986D2B-5EDB-7A46-BCB2-9666E8491E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5017" y="2990540"/>
            <a:ext cx="2982002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6" name="Marcador de texto 83">
            <a:extLst>
              <a:ext uri="{FF2B5EF4-FFF2-40B4-BE49-F238E27FC236}">
                <a16:creationId xmlns:a16="http://schemas.microsoft.com/office/drawing/2014/main" id="{547051A1-13A5-9141-B86E-40BE492F2C0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5017" y="3714070"/>
            <a:ext cx="2982002" cy="35896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7" name="Marcador de texto 83">
            <a:extLst>
              <a:ext uri="{FF2B5EF4-FFF2-40B4-BE49-F238E27FC236}">
                <a16:creationId xmlns:a16="http://schemas.microsoft.com/office/drawing/2014/main" id="{BBFDF298-028C-DD47-95FB-C8F8D4059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5017" y="4433160"/>
            <a:ext cx="2991110" cy="35896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15017" y="1552358"/>
            <a:ext cx="2974806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9" name="Marcador de texto 3">
            <a:extLst>
              <a:ext uri="{FF2B5EF4-FFF2-40B4-BE49-F238E27FC236}">
                <a16:creationId xmlns:a16="http://schemas.microsoft.com/office/drawing/2014/main" id="{24F72723-FC1D-4A40-A3CE-0C68981C8F1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89298" y="1872681"/>
            <a:ext cx="2974806" cy="33261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0" name="Marcador de texto 3">
            <a:extLst>
              <a:ext uri="{FF2B5EF4-FFF2-40B4-BE49-F238E27FC236}">
                <a16:creationId xmlns:a16="http://schemas.microsoft.com/office/drawing/2014/main" id="{D3C329BC-37ED-3642-B6E7-18E8C2DA4A8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757532" y="1668457"/>
            <a:ext cx="3599141" cy="297766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1" name="Marcador de texto 15">
            <a:extLst>
              <a:ext uri="{FF2B5EF4-FFF2-40B4-BE49-F238E27FC236}">
                <a16:creationId xmlns:a16="http://schemas.microsoft.com/office/drawing/2014/main" id="{B3ECF550-48B2-2843-A029-DE80F2570CE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53406" y="1552047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2" name="Marcador de texto 3">
            <a:extLst>
              <a:ext uri="{FF2B5EF4-FFF2-40B4-BE49-F238E27FC236}">
                <a16:creationId xmlns:a16="http://schemas.microsoft.com/office/drawing/2014/main" id="{29CFFEB6-D481-4C48-BFC9-24B890AD22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89298" y="2595583"/>
            <a:ext cx="2974806" cy="320363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3" name="Marcador de texto 3">
            <a:extLst>
              <a:ext uri="{FF2B5EF4-FFF2-40B4-BE49-F238E27FC236}">
                <a16:creationId xmlns:a16="http://schemas.microsoft.com/office/drawing/2014/main" id="{DCF22A84-AB91-C041-B8E7-7AD902FD02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757532" y="2391359"/>
            <a:ext cx="3599141" cy="311501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4" name="Marcador de texto 15">
            <a:extLst>
              <a:ext uri="{FF2B5EF4-FFF2-40B4-BE49-F238E27FC236}">
                <a16:creationId xmlns:a16="http://schemas.microsoft.com/office/drawing/2014/main" id="{8F9EFB6F-1C56-FF4E-983B-DD5BF77515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153406" y="2274950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5" name="Marcador de texto 3">
            <a:extLst>
              <a:ext uri="{FF2B5EF4-FFF2-40B4-BE49-F238E27FC236}">
                <a16:creationId xmlns:a16="http://schemas.microsoft.com/office/drawing/2014/main" id="{7A380FF4-DE32-0B49-BA56-808050E0D48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89297" y="3313699"/>
            <a:ext cx="2968439" cy="32993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6" name="Marcador de texto 3">
            <a:extLst>
              <a:ext uri="{FF2B5EF4-FFF2-40B4-BE49-F238E27FC236}">
                <a16:creationId xmlns:a16="http://schemas.microsoft.com/office/drawing/2014/main" id="{F90E99F0-5358-DD48-8D52-BBC6648DD9D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757532" y="3109475"/>
            <a:ext cx="3599141" cy="30920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7" name="Marcador de texto 15">
            <a:extLst>
              <a:ext uri="{FF2B5EF4-FFF2-40B4-BE49-F238E27FC236}">
                <a16:creationId xmlns:a16="http://schemas.microsoft.com/office/drawing/2014/main" id="{8865AF38-3DF9-C748-9434-4121CA979ED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153406" y="299306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8" name="Marcador de texto 3">
            <a:extLst>
              <a:ext uri="{FF2B5EF4-FFF2-40B4-BE49-F238E27FC236}">
                <a16:creationId xmlns:a16="http://schemas.microsoft.com/office/drawing/2014/main" id="{12D15972-AEAA-2F46-9AE7-22657A557D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9298" y="4041389"/>
            <a:ext cx="2968438" cy="32133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9" name="Marcador de texto 3">
            <a:extLst>
              <a:ext uri="{FF2B5EF4-FFF2-40B4-BE49-F238E27FC236}">
                <a16:creationId xmlns:a16="http://schemas.microsoft.com/office/drawing/2014/main" id="{A4760ED4-46A2-A445-B4CE-F9805FA9277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757532" y="3837165"/>
            <a:ext cx="3599141" cy="30255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0" name="Marcador de texto 15">
            <a:extLst>
              <a:ext uri="{FF2B5EF4-FFF2-40B4-BE49-F238E27FC236}">
                <a16:creationId xmlns:a16="http://schemas.microsoft.com/office/drawing/2014/main" id="{FEB0E95D-338A-3346-BB70-C8F6FA0DD87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153406" y="372075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1" name="Marcador de texto 3">
            <a:extLst>
              <a:ext uri="{FF2B5EF4-FFF2-40B4-BE49-F238E27FC236}">
                <a16:creationId xmlns:a16="http://schemas.microsoft.com/office/drawing/2014/main" id="{A3F81034-DEB8-AF47-B75A-EC44FCFFBB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89298" y="4754718"/>
            <a:ext cx="2974806" cy="32184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2" name="Marcador de texto 3">
            <a:extLst>
              <a:ext uri="{FF2B5EF4-FFF2-40B4-BE49-F238E27FC236}">
                <a16:creationId xmlns:a16="http://schemas.microsoft.com/office/drawing/2014/main" id="{2A538B8E-41CD-4341-AED6-2FFA34B3F03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757532" y="4550493"/>
            <a:ext cx="3599141" cy="321337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3" name="Marcador de texto 15">
            <a:extLst>
              <a:ext uri="{FF2B5EF4-FFF2-40B4-BE49-F238E27FC236}">
                <a16:creationId xmlns:a16="http://schemas.microsoft.com/office/drawing/2014/main" id="{173C5E62-67BC-9C45-8601-618E1D179FB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153406" y="4434084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4" name="Marcador de texto 83">
            <a:extLst>
              <a:ext uri="{FF2B5EF4-FFF2-40B4-BE49-F238E27FC236}">
                <a16:creationId xmlns:a16="http://schemas.microsoft.com/office/drawing/2014/main" id="{967DFE4E-11D5-9B48-9787-7C376FDD573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81146" y="2275888"/>
            <a:ext cx="2971542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5" name="Marcador de texto 83">
            <a:extLst>
              <a:ext uri="{FF2B5EF4-FFF2-40B4-BE49-F238E27FC236}">
                <a16:creationId xmlns:a16="http://schemas.microsoft.com/office/drawing/2014/main" id="{A66AEF34-CCE3-244B-9A73-A752C1D152B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181146" y="2990540"/>
            <a:ext cx="2968438" cy="323159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6" name="Marcador de texto 83">
            <a:extLst>
              <a:ext uri="{FF2B5EF4-FFF2-40B4-BE49-F238E27FC236}">
                <a16:creationId xmlns:a16="http://schemas.microsoft.com/office/drawing/2014/main" id="{2EC5676D-D773-CF40-86EC-47E332356C7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81146" y="3714070"/>
            <a:ext cx="2982958" cy="321337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7" name="Marcador de texto 83">
            <a:extLst>
              <a:ext uri="{FF2B5EF4-FFF2-40B4-BE49-F238E27FC236}">
                <a16:creationId xmlns:a16="http://schemas.microsoft.com/office/drawing/2014/main" id="{AFC92137-6235-2146-8DDC-3CC348067A2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81145" y="4433160"/>
            <a:ext cx="2974805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8" name="Marcador de texto 83">
            <a:extLst>
              <a:ext uri="{FF2B5EF4-FFF2-40B4-BE49-F238E27FC236}">
                <a16:creationId xmlns:a16="http://schemas.microsoft.com/office/drawing/2014/main" id="{8F8F59DA-8014-C044-83F5-3C1BA460C2B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81146" y="1552358"/>
            <a:ext cx="2982958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35445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500" y="2349500"/>
            <a:ext cx="2158999" cy="2159000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13238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1126270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171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500" y="2349500"/>
            <a:ext cx="2158999" cy="2159000"/>
          </a:xfrm>
        </p:spPr>
        <p:txBody>
          <a:bodyPr/>
          <a:lstStyle/>
          <a:p>
            <a:endParaRPr lang="es-ES"/>
          </a:p>
        </p:txBody>
      </p:sp>
      <p:sp>
        <p:nvSpPr>
          <p:cNvPr id="9" name="Marcador de posición de imagen 6">
            <a:extLst>
              <a:ext uri="{FF2B5EF4-FFF2-40B4-BE49-F238E27FC236}">
                <a16:creationId xmlns:a16="http://schemas.microsoft.com/office/drawing/2014/main" id="{80A30C94-9398-024F-8F1F-0723B72502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16500" y="5949950"/>
            <a:ext cx="2159000" cy="719138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88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500" y="2349500"/>
            <a:ext cx="2158999" cy="2159000"/>
          </a:xfrm>
        </p:spPr>
        <p:txBody>
          <a:bodyPr/>
          <a:lstStyle/>
          <a:p>
            <a:endParaRPr lang="es-ES"/>
          </a:p>
        </p:txBody>
      </p:sp>
      <p:sp>
        <p:nvSpPr>
          <p:cNvPr id="3" name="Marcador de número de diapositiva 5">
            <a:extLst>
              <a:ext uri="{FF2B5EF4-FFF2-40B4-BE49-F238E27FC236}">
                <a16:creationId xmlns:a16="http://schemas.microsoft.com/office/drawing/2014/main" id="{207EB585-A48B-432F-BBFD-6B55041E9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1222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073" y="2574617"/>
            <a:ext cx="9492761" cy="1325563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4341" y="4197813"/>
            <a:ext cx="9474494" cy="10874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0B9CADD5-CC6B-014B-AB4E-565F39691A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700" y="5949950"/>
            <a:ext cx="9492760" cy="361460"/>
          </a:xfrm>
        </p:spPr>
        <p:txBody>
          <a:bodyPr anchor="b">
            <a:normAutofit/>
          </a:bodyPr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158233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49473A57-1097-594F-8845-F871CEBEA0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479903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7EC0C27-5E8F-CE46-9D3F-E57743BA89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965268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051998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/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619891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905726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0568" y="1425883"/>
            <a:ext cx="788077" cy="478428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1.</a:t>
            </a:r>
            <a:br>
              <a:rPr lang="es-ES"/>
            </a:br>
            <a:r>
              <a:rPr lang="es-ES"/>
              <a:t>2.</a:t>
            </a:r>
            <a:br>
              <a:rPr lang="es-ES"/>
            </a:br>
            <a:r>
              <a:rPr lang="es-ES"/>
              <a:t>3.</a:t>
            </a:r>
            <a:br>
              <a:rPr lang="es-ES"/>
            </a:br>
            <a:r>
              <a:rPr lang="es-ES"/>
              <a:t>4.</a:t>
            </a:r>
            <a:br>
              <a:rPr lang="es-ES"/>
            </a:br>
            <a:r>
              <a:rPr lang="es-ES"/>
              <a:t>5.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44" name="Marcador de texto 83">
            <a:extLst>
              <a:ext uri="{FF2B5EF4-FFF2-40B4-BE49-F238E27FC236}">
                <a16:creationId xmlns:a16="http://schemas.microsoft.com/office/drawing/2014/main" id="{CBF29B9B-8E00-ED48-AEBE-65C3714F5E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100818" y="1425883"/>
            <a:ext cx="5896651" cy="478428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2760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496462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063799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269852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759779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502529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834576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426651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7309455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227184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39467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9259" y="372639"/>
            <a:ext cx="2978350" cy="341567"/>
          </a:xfrm>
        </p:spPr>
        <p:txBody>
          <a:bodyPr>
            <a:normAutofit/>
          </a:bodyPr>
          <a:lstStyle>
            <a:lvl1pPr>
              <a:defRPr sz="1300" b="1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9798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560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3542EB-847A-134C-87D5-341B3F888D0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1390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ED21A4EA-B7DC-2249-9BBA-4D41A99B3C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1390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83">
            <a:extLst>
              <a:ext uri="{FF2B5EF4-FFF2-40B4-BE49-F238E27FC236}">
                <a16:creationId xmlns:a16="http://schemas.microsoft.com/office/drawing/2014/main" id="{846ACD11-B8D6-D347-834E-2FFC4F7678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8596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5611C3A-E7BA-8741-B713-7ECF35C208C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30188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3847668A-0F13-FD40-99C9-7D211293DC7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30188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1" name="Marcador de texto 83">
            <a:extLst>
              <a:ext uri="{FF2B5EF4-FFF2-40B4-BE49-F238E27FC236}">
                <a16:creationId xmlns:a16="http://schemas.microsoft.com/office/drawing/2014/main" id="{2A5ED1A7-3C9E-0A47-A8B4-C2B3AC78C14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5870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65B95A9-6987-F748-AD20-7165E5E8CEE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17462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7991601E-FE13-004A-B235-1C7E12150DA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7462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4" name="Marcador de texto 83">
            <a:extLst>
              <a:ext uri="{FF2B5EF4-FFF2-40B4-BE49-F238E27FC236}">
                <a16:creationId xmlns:a16="http://schemas.microsoft.com/office/drawing/2014/main" id="{B55C8E76-6CFF-6040-8FA8-33F63C85CEB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03906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id="{69111C5F-2E5B-A941-97B9-DF3CB7452A8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05498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E44F70FF-0454-5A49-B7FE-A299E03161D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5498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7" name="Marcador de texto 83">
            <a:extLst>
              <a:ext uri="{FF2B5EF4-FFF2-40B4-BE49-F238E27FC236}">
                <a16:creationId xmlns:a16="http://schemas.microsoft.com/office/drawing/2014/main" id="{C6EFC7DE-FDA3-344F-BA47-77E74A7AB00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9798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DEDD6D48-A77A-1B42-A0A7-7C1FA8FB23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1390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339E1E00-EF43-9842-A5D4-7D893A6A21D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1390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0" name="Marcador de texto 83">
            <a:extLst>
              <a:ext uri="{FF2B5EF4-FFF2-40B4-BE49-F238E27FC236}">
                <a16:creationId xmlns:a16="http://schemas.microsoft.com/office/drawing/2014/main" id="{3609BFF5-C0EC-C74B-BAC5-C6247F87A15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28596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A2D9B95A-6F51-704A-8164-AE4376A524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30188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347D8AC6-F6F7-AB40-BDAE-DFA1A20F30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30188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3" name="Marcador de texto 83">
            <a:extLst>
              <a:ext uri="{FF2B5EF4-FFF2-40B4-BE49-F238E27FC236}">
                <a16:creationId xmlns:a16="http://schemas.microsoft.com/office/drawing/2014/main" id="{2175621C-7D22-9246-842E-EBEBA072199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5870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id="{857887B0-767A-9D43-9C2D-CFE8C77727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7462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79494816-53D2-E340-A80C-F39EE826D98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17462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6" name="Marcador de texto 83">
            <a:extLst>
              <a:ext uri="{FF2B5EF4-FFF2-40B4-BE49-F238E27FC236}">
                <a16:creationId xmlns:a16="http://schemas.microsoft.com/office/drawing/2014/main" id="{E903AC53-87A3-6E4D-820F-7A4F85097C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03906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id="{46EEBF2D-185D-3F40-90DD-563D0093C87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05498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id="{F0CFAD44-F620-CD41-8005-F4C6AADCED7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5498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3198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139634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0618378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540485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4093413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0568587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3478334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432" y="2574617"/>
            <a:ext cx="9492761" cy="1325563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2700" y="4197813"/>
            <a:ext cx="9474494" cy="108743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275" y="416193"/>
            <a:ext cx="1995194" cy="568123"/>
          </a:xfrm>
          <a:prstGeom prst="rect">
            <a:avLst/>
          </a:prstGeom>
        </p:spPr>
      </p:pic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247BFB-65E8-D848-BCEB-FD300C1A40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700" y="5949950"/>
            <a:ext cx="9492760" cy="361460"/>
          </a:xfrm>
        </p:spPr>
        <p:txBody>
          <a:bodyPr anchor="b">
            <a:normAutofit/>
          </a:bodyPr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1739833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(zB KAPITELNAME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7C1D41E-2A9C-6948-A953-0937553814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55294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465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ielen, 24pt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OVERLINE zB KAPITELNAM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CF7B376-6C40-774D-A21E-D60081563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656" cy="232941"/>
          </a:xfrm>
          <a:prstGeom prst="rect">
            <a:avLst/>
          </a:prstGeom>
        </p:spPr>
      </p:pic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BD163313-47B2-4313-AD3D-BD3E5EED59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3359" y="1745320"/>
            <a:ext cx="3704934" cy="603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  <a:br>
              <a:rPr lang="es-ES"/>
            </a:br>
            <a:r>
              <a:rPr lang="es-ES"/>
              <a:t>max 2 Zeilen 17 pt fet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0DE43BB-5E89-4C33-9E2D-2D5A7C70E8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7513" y="2457724"/>
            <a:ext cx="11258550" cy="379067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683234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ielen, 24p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CF7B376-6C40-774D-A21E-D60081563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0739" cy="232941"/>
          </a:xfrm>
          <a:prstGeom prst="rect">
            <a:avLst/>
          </a:prstGeom>
        </p:spPr>
      </p:pic>
      <p:sp>
        <p:nvSpPr>
          <p:cNvPr id="15" name="Marcador de texto 12">
            <a:extLst>
              <a:ext uri="{FF2B5EF4-FFF2-40B4-BE49-F238E27FC236}">
                <a16:creationId xmlns:a16="http://schemas.microsoft.com/office/drawing/2014/main" id="{F06BA176-7DE3-4983-AFF5-8186A9D574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2462" y="3149423"/>
            <a:ext cx="5333177" cy="3638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3CF79398-BC31-4F3A-BCF2-47808C695A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62" y="1740662"/>
            <a:ext cx="5318125" cy="134096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9" name="Marcador de texto 12">
            <a:extLst>
              <a:ext uri="{FF2B5EF4-FFF2-40B4-BE49-F238E27FC236}">
                <a16:creationId xmlns:a16="http://schemas.microsoft.com/office/drawing/2014/main" id="{BB527D29-F7D5-41CD-8BA0-953EE4854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48411" y="3155812"/>
            <a:ext cx="5318363" cy="3638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E5A355E5-B7AD-415F-A4AB-3C447BD1A9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48650" y="1747051"/>
            <a:ext cx="5318125" cy="134096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5FBDCB-C700-4E12-8DBB-9250E64B0F4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2461" y="3587750"/>
            <a:ext cx="5333177" cy="2667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691B310-20B0-40AA-B12D-FDCF5A2C728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48175" y="3587751"/>
            <a:ext cx="5318363" cy="2667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Marcador de texto 18">
            <a:extLst>
              <a:ext uri="{FF2B5EF4-FFF2-40B4-BE49-F238E27FC236}">
                <a16:creationId xmlns:a16="http://schemas.microsoft.com/office/drawing/2014/main" id="{E2EC4260-DEE1-42DF-86CE-9AFEC9F811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631" y="354659"/>
            <a:ext cx="11259303" cy="1984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s-ES" sz="1300" b="1" cap="all" dirty="0"/>
            </a:lvl1pPr>
          </a:lstStyle>
          <a:p>
            <a:pPr lvl="0"/>
            <a:r>
              <a:rPr lang="es-ES"/>
              <a:t>OVERLINE zB KAPITELNAME</a:t>
            </a:r>
          </a:p>
        </p:txBody>
      </p:sp>
    </p:spTree>
    <p:extLst>
      <p:ext uri="{BB962C8B-B14F-4D97-AF65-F5344CB8AC3E}">
        <p14:creationId xmlns:p14="http://schemas.microsoft.com/office/powerpoint/2010/main" val="2708805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_Numer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/>
          <a:lstStyle>
            <a:lvl1pPr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>
              <a:defRPr baseline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>
              <a:defRPr sz="34000" b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32749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/>
            </a:lvl1pPr>
          </a:lstStyle>
          <a:p>
            <a:r>
              <a:rPr lang="es-ES"/>
              <a:t>Headline</a:t>
            </a:r>
            <a:br>
              <a:rPr lang="es-ES"/>
            </a:br>
            <a:r>
              <a:rPr lang="es-ES"/>
              <a:t>max 2 Zeilen, 50pt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/>
              <a:t>Messag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47A089-DFCD-B946-8E45-966FDBAC43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65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2347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s-ES"/>
              <a:t>Headline</a:t>
            </a:r>
            <a:br>
              <a:rPr lang="es-ES"/>
            </a:br>
            <a:r>
              <a:rPr lang="es-ES"/>
              <a:t>max 2 Zeilen, 50pt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/>
              <a:t>Messag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CD79FB0-A438-D044-AE1E-407B4DFFD8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26781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433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0978" y="2461480"/>
            <a:ext cx="4595520" cy="27178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44FE88B-F28C-8441-A3AE-B5F451009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65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916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0978" y="2461480"/>
            <a:ext cx="4595520" cy="27178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A3A9D1-254C-3E4B-9964-C85582BBD8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0739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5879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titel</a:t>
            </a:r>
            <a:br>
              <a:rPr lang="de-DE"/>
            </a:br>
            <a:r>
              <a:rPr lang="de-DE" err="1"/>
              <a:t>max</a:t>
            </a:r>
            <a:r>
              <a:rPr lang="de-DE"/>
              <a:t> 2 Zeilen, 24pt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0977" y="2461480"/>
            <a:ext cx="4595521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02DDEBF-734C-EB47-BAA4-638650712C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1" y="6410516"/>
            <a:ext cx="73865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4872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358" y="2461480"/>
            <a:ext cx="3704934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CEA354F-C140-8A4A-9CE6-42D0381F98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22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2657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4301F79-0AD3-664D-BCBF-921F93B64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4003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3809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4547" y="2461480"/>
            <a:ext cx="3881225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B840250-B150-694E-933A-EA87D2C780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22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134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4550" y="2461480"/>
            <a:ext cx="3704934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9AAC5D0-5F1C-004F-A0DD-43EBD609F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46673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6261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7EEA3C7-A620-B841-BAAC-5FA810656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42450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212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500" y="2349500"/>
            <a:ext cx="2158999" cy="2159000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81639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AEE80B1C-1430-4C4E-9D99-564C39E8B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42450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7549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eadline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Name</a:t>
            </a:r>
            <a:br>
              <a:rPr lang="es-ES"/>
            </a:br>
            <a:r>
              <a:rPr lang="es-ES"/>
              <a:t>Vorname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2084064D-2CE8-6F49-B565-7DE03A3606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29779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1755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04E3C50-FABF-D249-8875-565DB030A0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8226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207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80A9EC6-344C-6E44-8330-538D2A2F33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1" y="6410516"/>
            <a:ext cx="721332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166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C9FC4CA-1CB3-674A-96BC-CD2A05224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4003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8273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01A493-4C6B-B049-A17B-60832F008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39225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6715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/>
          <a:lstStyle/>
          <a:p>
            <a:r>
              <a:rPr lang="es-ES"/>
              <a:t>Folientitel</a:t>
            </a:r>
            <a:br>
              <a:rPr lang="es-ES"/>
            </a:br>
            <a:r>
              <a:rPr lang="es-ES"/>
              <a:t>max 2 Zeilen, 24pt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Overline zB Kapitelname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Zwischenüberschrift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EBA9732-8CF4-DD43-BB3A-78D1220739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170" y="6410516"/>
            <a:ext cx="727795" cy="2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9409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8" y="624929"/>
            <a:ext cx="11258113" cy="796467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8" y="366676"/>
            <a:ext cx="5678052" cy="198439"/>
          </a:xfrm>
        </p:spPr>
        <p:txBody>
          <a:bodyPr>
            <a:noAutofit/>
          </a:bodyPr>
          <a:lstStyle>
            <a:lvl1pPr marL="0" indent="0">
              <a:buNone/>
              <a:defRPr sz="1298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9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5" y="1628776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6" y="6421061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2" y="303608"/>
            <a:ext cx="2125662" cy="288925"/>
          </a:xfrm>
        </p:spPr>
        <p:txBody>
          <a:bodyPr>
            <a:noAutofit/>
          </a:bodyPr>
          <a:lstStyle>
            <a:lvl1pPr>
              <a:defRPr sz="1049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7695527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134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1126270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215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38F847B-B1D5-6E4F-BAF3-178C29398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69" y="1872681"/>
            <a:ext cx="2966654" cy="33261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0E77A328-002E-C148-B1FB-AB2185096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1403" y="1668457"/>
            <a:ext cx="3599141" cy="307340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6FF4BFE9-A3A9-7749-B879-E60B1A2B8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87277" y="1552047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A5E3CCB4-43EF-DB40-B50F-80B1F61C6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169" y="2595583"/>
            <a:ext cx="2973850" cy="320363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5C2665B6-DB56-C84D-93D8-D2148DCE3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91403" y="2391359"/>
            <a:ext cx="3599141" cy="311501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5" name="Marcador de texto 15">
            <a:extLst>
              <a:ext uri="{FF2B5EF4-FFF2-40B4-BE49-F238E27FC236}">
                <a16:creationId xmlns:a16="http://schemas.microsoft.com/office/drawing/2014/main" id="{DD88DE94-DE9B-9548-BFC2-D597A4F56D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7277" y="2274950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238F629-2A35-E441-ACA7-961CE41BCB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168" y="3313699"/>
            <a:ext cx="2968439" cy="320161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99B269-59E4-0B4F-81BF-633D66B8F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91403" y="3109475"/>
            <a:ext cx="3599141" cy="310229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9" name="Marcador de texto 15">
            <a:extLst>
              <a:ext uri="{FF2B5EF4-FFF2-40B4-BE49-F238E27FC236}">
                <a16:creationId xmlns:a16="http://schemas.microsoft.com/office/drawing/2014/main" id="{BD215A62-CE58-5A40-8F34-663CF9B6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87277" y="299306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497BDA8-8421-3B42-81A4-19F74C7927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169" y="4041389"/>
            <a:ext cx="2968438" cy="35320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1546160F-867A-244D-8E88-CD46998AE6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1403" y="3837165"/>
            <a:ext cx="3599141" cy="30255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3" name="Marcador de texto 15">
            <a:extLst>
              <a:ext uri="{FF2B5EF4-FFF2-40B4-BE49-F238E27FC236}">
                <a16:creationId xmlns:a16="http://schemas.microsoft.com/office/drawing/2014/main" id="{EF575985-D360-5E41-8BDC-2D3954DA6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7277" y="372075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619D7DE5-779D-9A4B-9FD8-5B4C17758E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3169" y="4754718"/>
            <a:ext cx="2974806" cy="358968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54F9FAF-4483-154B-863B-3F4E682EA9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1403" y="4550494"/>
            <a:ext cx="3599141" cy="302552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7" name="Marcador de texto 15">
            <a:extLst>
              <a:ext uri="{FF2B5EF4-FFF2-40B4-BE49-F238E27FC236}">
                <a16:creationId xmlns:a16="http://schemas.microsoft.com/office/drawing/2014/main" id="{3C9D978E-0D85-CF4B-ACA3-2FE2F3B2D1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277" y="4434084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4" name="Marcador de texto 83">
            <a:extLst>
              <a:ext uri="{FF2B5EF4-FFF2-40B4-BE49-F238E27FC236}">
                <a16:creationId xmlns:a16="http://schemas.microsoft.com/office/drawing/2014/main" id="{FFB93D1C-610E-6E41-AAF3-2570F64012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5017" y="2275888"/>
            <a:ext cx="2982002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5" name="Marcador de texto 83">
            <a:extLst>
              <a:ext uri="{FF2B5EF4-FFF2-40B4-BE49-F238E27FC236}">
                <a16:creationId xmlns:a16="http://schemas.microsoft.com/office/drawing/2014/main" id="{74986D2B-5EDB-7A46-BCB2-9666E8491E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5017" y="2990540"/>
            <a:ext cx="2982002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6" name="Marcador de texto 83">
            <a:extLst>
              <a:ext uri="{FF2B5EF4-FFF2-40B4-BE49-F238E27FC236}">
                <a16:creationId xmlns:a16="http://schemas.microsoft.com/office/drawing/2014/main" id="{547051A1-13A5-9141-B86E-40BE492F2C0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5017" y="3714070"/>
            <a:ext cx="2982002" cy="35896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7" name="Marcador de texto 83">
            <a:extLst>
              <a:ext uri="{FF2B5EF4-FFF2-40B4-BE49-F238E27FC236}">
                <a16:creationId xmlns:a16="http://schemas.microsoft.com/office/drawing/2014/main" id="{BBFDF298-028C-DD47-95FB-C8F8D4059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5017" y="4433160"/>
            <a:ext cx="2991110" cy="35896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15017" y="1552358"/>
            <a:ext cx="2974806" cy="36172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9" name="Marcador de texto 3">
            <a:extLst>
              <a:ext uri="{FF2B5EF4-FFF2-40B4-BE49-F238E27FC236}">
                <a16:creationId xmlns:a16="http://schemas.microsoft.com/office/drawing/2014/main" id="{24F72723-FC1D-4A40-A3CE-0C68981C8F1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89298" y="1872681"/>
            <a:ext cx="2974806" cy="33261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0" name="Marcador de texto 3">
            <a:extLst>
              <a:ext uri="{FF2B5EF4-FFF2-40B4-BE49-F238E27FC236}">
                <a16:creationId xmlns:a16="http://schemas.microsoft.com/office/drawing/2014/main" id="{D3C329BC-37ED-3642-B6E7-18E8C2DA4A8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757532" y="1668457"/>
            <a:ext cx="3599141" cy="297766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1" name="Marcador de texto 15">
            <a:extLst>
              <a:ext uri="{FF2B5EF4-FFF2-40B4-BE49-F238E27FC236}">
                <a16:creationId xmlns:a16="http://schemas.microsoft.com/office/drawing/2014/main" id="{B3ECF550-48B2-2843-A029-DE80F2570CE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53406" y="1552047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2" name="Marcador de texto 3">
            <a:extLst>
              <a:ext uri="{FF2B5EF4-FFF2-40B4-BE49-F238E27FC236}">
                <a16:creationId xmlns:a16="http://schemas.microsoft.com/office/drawing/2014/main" id="{29CFFEB6-D481-4C48-BFC9-24B890AD22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89298" y="2595583"/>
            <a:ext cx="2974806" cy="320363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3" name="Marcador de texto 3">
            <a:extLst>
              <a:ext uri="{FF2B5EF4-FFF2-40B4-BE49-F238E27FC236}">
                <a16:creationId xmlns:a16="http://schemas.microsoft.com/office/drawing/2014/main" id="{DCF22A84-AB91-C041-B8E7-7AD902FD02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757532" y="2391359"/>
            <a:ext cx="3599141" cy="311501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4" name="Marcador de texto 15">
            <a:extLst>
              <a:ext uri="{FF2B5EF4-FFF2-40B4-BE49-F238E27FC236}">
                <a16:creationId xmlns:a16="http://schemas.microsoft.com/office/drawing/2014/main" id="{8F9EFB6F-1C56-FF4E-983B-DD5BF77515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153406" y="2274950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5" name="Marcador de texto 3">
            <a:extLst>
              <a:ext uri="{FF2B5EF4-FFF2-40B4-BE49-F238E27FC236}">
                <a16:creationId xmlns:a16="http://schemas.microsoft.com/office/drawing/2014/main" id="{7A380FF4-DE32-0B49-BA56-808050E0D48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89297" y="3313699"/>
            <a:ext cx="2968439" cy="32993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6" name="Marcador de texto 3">
            <a:extLst>
              <a:ext uri="{FF2B5EF4-FFF2-40B4-BE49-F238E27FC236}">
                <a16:creationId xmlns:a16="http://schemas.microsoft.com/office/drawing/2014/main" id="{F90E99F0-5358-DD48-8D52-BBC6648DD9D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757532" y="3109475"/>
            <a:ext cx="3599141" cy="30920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7" name="Marcador de texto 15">
            <a:extLst>
              <a:ext uri="{FF2B5EF4-FFF2-40B4-BE49-F238E27FC236}">
                <a16:creationId xmlns:a16="http://schemas.microsoft.com/office/drawing/2014/main" id="{8865AF38-3DF9-C748-9434-4121CA979ED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153406" y="299306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8" name="Marcador de texto 3">
            <a:extLst>
              <a:ext uri="{FF2B5EF4-FFF2-40B4-BE49-F238E27FC236}">
                <a16:creationId xmlns:a16="http://schemas.microsoft.com/office/drawing/2014/main" id="{12D15972-AEAA-2F46-9AE7-22657A557D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9298" y="4041389"/>
            <a:ext cx="2968438" cy="321337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9" name="Marcador de texto 3">
            <a:extLst>
              <a:ext uri="{FF2B5EF4-FFF2-40B4-BE49-F238E27FC236}">
                <a16:creationId xmlns:a16="http://schemas.microsoft.com/office/drawing/2014/main" id="{A4760ED4-46A2-A445-B4CE-F9805FA9277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757532" y="3837165"/>
            <a:ext cx="3599141" cy="302553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0" name="Marcador de texto 15">
            <a:extLst>
              <a:ext uri="{FF2B5EF4-FFF2-40B4-BE49-F238E27FC236}">
                <a16:creationId xmlns:a16="http://schemas.microsoft.com/office/drawing/2014/main" id="{FEB0E95D-338A-3346-BB70-C8F6FA0DD87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153406" y="3720756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1" name="Marcador de texto 3">
            <a:extLst>
              <a:ext uri="{FF2B5EF4-FFF2-40B4-BE49-F238E27FC236}">
                <a16:creationId xmlns:a16="http://schemas.microsoft.com/office/drawing/2014/main" id="{A3F81034-DEB8-AF47-B75A-EC44FCFFBB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89298" y="4754718"/>
            <a:ext cx="2974806" cy="321846"/>
          </a:xfrm>
        </p:spPr>
        <p:txBody>
          <a:bodyPr numCol="1">
            <a:normAutofit/>
          </a:bodyPr>
          <a:lstStyle>
            <a:lvl1pPr algn="just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2" name="Marcador de texto 3">
            <a:extLst>
              <a:ext uri="{FF2B5EF4-FFF2-40B4-BE49-F238E27FC236}">
                <a16:creationId xmlns:a16="http://schemas.microsoft.com/office/drawing/2014/main" id="{2A538B8E-41CD-4341-AED6-2FFA34B3F03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757532" y="4550493"/>
            <a:ext cx="3599141" cy="321337"/>
          </a:xfrm>
        </p:spPr>
        <p:txBody>
          <a:bodyPr numCol="1">
            <a:noAutofit/>
          </a:bodyPr>
          <a:lstStyle>
            <a:lvl1pPr algn="just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3" name="Marcador de texto 15">
            <a:extLst>
              <a:ext uri="{FF2B5EF4-FFF2-40B4-BE49-F238E27FC236}">
                <a16:creationId xmlns:a16="http://schemas.microsoft.com/office/drawing/2014/main" id="{173C5E62-67BC-9C45-8601-618E1D179FB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153406" y="4434084"/>
            <a:ext cx="729889" cy="418962"/>
          </a:xfrm>
        </p:spPr>
        <p:txBody>
          <a:bodyPr>
            <a:normAutofit/>
          </a:bodyPr>
          <a:lstStyle>
            <a:lvl1pPr algn="just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4" name="Marcador de texto 83">
            <a:extLst>
              <a:ext uri="{FF2B5EF4-FFF2-40B4-BE49-F238E27FC236}">
                <a16:creationId xmlns:a16="http://schemas.microsoft.com/office/drawing/2014/main" id="{967DFE4E-11D5-9B48-9787-7C376FDD573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81146" y="2275888"/>
            <a:ext cx="2971542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5" name="Marcador de texto 83">
            <a:extLst>
              <a:ext uri="{FF2B5EF4-FFF2-40B4-BE49-F238E27FC236}">
                <a16:creationId xmlns:a16="http://schemas.microsoft.com/office/drawing/2014/main" id="{A66AEF34-CCE3-244B-9A73-A752C1D152B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181146" y="2990540"/>
            <a:ext cx="2968438" cy="323159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6" name="Marcador de texto 83">
            <a:extLst>
              <a:ext uri="{FF2B5EF4-FFF2-40B4-BE49-F238E27FC236}">
                <a16:creationId xmlns:a16="http://schemas.microsoft.com/office/drawing/2014/main" id="{2EC5676D-D773-CF40-86EC-47E332356C7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81146" y="3714070"/>
            <a:ext cx="2982958" cy="321337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7" name="Marcador de texto 83">
            <a:extLst>
              <a:ext uri="{FF2B5EF4-FFF2-40B4-BE49-F238E27FC236}">
                <a16:creationId xmlns:a16="http://schemas.microsoft.com/office/drawing/2014/main" id="{AFC92137-6235-2146-8DDC-3CC348067A2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81145" y="4433160"/>
            <a:ext cx="2974805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8" name="Marcador de texto 83">
            <a:extLst>
              <a:ext uri="{FF2B5EF4-FFF2-40B4-BE49-F238E27FC236}">
                <a16:creationId xmlns:a16="http://schemas.microsoft.com/office/drawing/2014/main" id="{8F8F59DA-8014-C044-83F5-3C1BA460C2B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81146" y="1552358"/>
            <a:ext cx="2982958" cy="314908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3315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7EC0C27-5E8F-CE46-9D3F-E57743BA89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7997209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5899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7028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AEA30710-1CBA-4BF1-88A9-E081805095A2}"/>
              </a:ext>
            </a:extLst>
          </p:cNvPr>
          <p:cNvSpPr>
            <a:spLocks/>
          </p:cNvSpPr>
          <p:nvPr userDrawn="1"/>
        </p:nvSpPr>
        <p:spPr bwMode="auto">
          <a:xfrm>
            <a:off x="10664979" y="6495950"/>
            <a:ext cx="298159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defTabSz="914363" eaLnBrk="1" hangingPunct="1">
              <a:defRPr/>
            </a:pPr>
            <a:fld id="{4C133B8C-2B4F-45CB-BBA4-156FF8F44E6A}" type="slidenum">
              <a:rPr lang="es-ES_tradnl" altLang="es-ES" sz="1333" smtClean="0">
                <a:solidFill>
                  <a:srgbClr val="0066FF"/>
                </a:solidFill>
                <a:latin typeface="Calibri"/>
                <a:ea typeface="Arial" charset="0"/>
                <a:cs typeface="Arial" charset="0"/>
                <a:sym typeface="Arial" pitchFamily="34" charset="0"/>
              </a:rPr>
              <a:pPr algn="r" defTabSz="914363" eaLnBrk="1" hangingPunct="1">
                <a:defRPr/>
              </a:pPr>
              <a:t>‹#›</a:t>
            </a:fld>
            <a:endParaRPr lang="es-ES_tradnl" altLang="es-ES" sz="1333">
              <a:solidFill>
                <a:srgbClr val="0066FF"/>
              </a:solidFill>
              <a:latin typeface="Calibri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D52F5DEB-D9D9-44A8-AC9E-E5108726730B}"/>
              </a:ext>
            </a:extLst>
          </p:cNvPr>
          <p:cNvCxnSpPr/>
          <p:nvPr userDrawn="1"/>
        </p:nvCxnSpPr>
        <p:spPr>
          <a:xfrm flipV="1">
            <a:off x="11034256" y="6471712"/>
            <a:ext cx="0" cy="253659"/>
          </a:xfrm>
          <a:prstGeom prst="line">
            <a:avLst/>
          </a:prstGeom>
          <a:noFill/>
          <a:ln w="9525" cap="flat" cmpd="sng" algn="ctr">
            <a:solidFill>
              <a:srgbClr val="0066FF"/>
            </a:solidFill>
            <a:prstDash val="solid"/>
          </a:ln>
          <a:effectLst/>
        </p:spPr>
      </p:cxnSp>
      <p:pic>
        <p:nvPicPr>
          <p:cNvPr id="7" name="Gráfico 6">
            <a:extLst>
              <a:ext uri="{FF2B5EF4-FFF2-40B4-BE49-F238E27FC236}">
                <a16:creationId xmlns:a16="http://schemas.microsoft.com/office/drawing/2014/main" id="{44B6E346-6E55-49F0-8A0F-15E9EF1E57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85056" y="6464827"/>
            <a:ext cx="960000" cy="267429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1770D0D5-6510-4512-9BB3-E447D40E326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8579" y="68977"/>
            <a:ext cx="672000" cy="169529"/>
            <a:chOff x="1055507" y="1075764"/>
            <a:chExt cx="770304" cy="194329"/>
          </a:xfrm>
          <a:solidFill>
            <a:srgbClr val="0066FF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B98326AB-6BB1-46BF-98F9-972C4DFB7925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3200" b="0" i="0" u="none" strike="noStrike" kern="0" cap="none" spc="0" normalizeH="0" baseline="0" noProof="0" err="1">
                <a:ln>
                  <a:noFill/>
                </a:ln>
                <a:solidFill>
                  <a:srgbClr val="031A3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848282B6-5C0D-440F-9BDC-06F4D5DAF308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3200" b="0" i="0" u="none" strike="noStrike" kern="0" cap="none" spc="0" normalizeH="0" baseline="0" noProof="0" err="1">
                <a:ln>
                  <a:noFill/>
                </a:ln>
                <a:solidFill>
                  <a:srgbClr val="031A3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E017159-D800-4511-B170-60563A92C773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3200" b="0" i="0" u="none" strike="noStrike" kern="0" cap="none" spc="0" normalizeH="0" baseline="0" noProof="0" err="1">
                <a:ln>
                  <a:noFill/>
                </a:ln>
                <a:solidFill>
                  <a:srgbClr val="031A3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0495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012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1126270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485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014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40" y="1479572"/>
            <a:ext cx="10923594" cy="1589066"/>
          </a:xfrm>
        </p:spPr>
        <p:txBody>
          <a:bodyPr/>
          <a:lstStyle>
            <a:lvl1pPr>
              <a:defRPr sz="5000"/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8045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10923594" cy="1589066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9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939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0568" y="1425883"/>
            <a:ext cx="788077" cy="478428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1.</a:t>
            </a:r>
            <a:br>
              <a:rPr lang="es-ES"/>
            </a:br>
            <a:r>
              <a:rPr lang="es-ES"/>
              <a:t>2.</a:t>
            </a:r>
            <a:br>
              <a:rPr lang="es-ES"/>
            </a:br>
            <a:r>
              <a:rPr lang="es-ES"/>
              <a:t>3.</a:t>
            </a:r>
            <a:br>
              <a:rPr lang="es-ES"/>
            </a:br>
            <a:r>
              <a:rPr lang="es-ES"/>
              <a:t>4.</a:t>
            </a:r>
            <a:br>
              <a:rPr lang="es-ES"/>
            </a:br>
            <a:r>
              <a:rPr lang="es-ES"/>
              <a:t>5.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44" name="Marcador de texto 83">
            <a:extLst>
              <a:ext uri="{FF2B5EF4-FFF2-40B4-BE49-F238E27FC236}">
                <a16:creationId xmlns:a16="http://schemas.microsoft.com/office/drawing/2014/main" id="{CBF29B9B-8E00-ED48-AEBE-65C3714F5E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100818" y="1425883"/>
            <a:ext cx="5896651" cy="478428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9792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1127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955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6635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1082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252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9872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A_Texto_Devic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pic>
        <p:nvPicPr>
          <p:cNvPr id="15" name="Picture 14" descr="A picture containing monitor, screen, picture frame&#10;&#10;Description automatically generated">
            <a:extLst>
              <a:ext uri="{FF2B5EF4-FFF2-40B4-BE49-F238E27FC236}">
                <a16:creationId xmlns:a16="http://schemas.microsoft.com/office/drawing/2014/main" id="{28BA61DB-A6B8-C74F-9D5C-189FEE9B15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6500" y="695881"/>
            <a:ext cx="7766470" cy="6026448"/>
          </a:xfrm>
          <a:prstGeom prst="rect">
            <a:avLst/>
          </a:prstGeom>
        </p:spPr>
      </p:pic>
      <p:sp>
        <p:nvSpPr>
          <p:cNvPr id="20" name="Marcador de posición de imagen 9">
            <a:extLst>
              <a:ext uri="{FF2B5EF4-FFF2-40B4-BE49-F238E27FC236}">
                <a16:creationId xmlns:a16="http://schemas.microsoft.com/office/drawing/2014/main" id="{4C058738-506B-C647-A5B2-F19B8E0EAAE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61954" y="1267115"/>
            <a:ext cx="5753507" cy="4323769"/>
          </a:xfrm>
          <a:prstGeom prst="roundRect">
            <a:avLst>
              <a:gd name="adj" fmla="val 1486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846431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2A_Texto_Devic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6A2BDBEC-B0B1-4A47-8EBE-5B97A5D110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4340" y="710802"/>
            <a:ext cx="4231104" cy="5436396"/>
          </a:xfrm>
          <a:prstGeom prst="rect">
            <a:avLst/>
          </a:prstGeom>
        </p:spPr>
      </p:pic>
      <p:sp>
        <p:nvSpPr>
          <p:cNvPr id="23" name="Marcador de posición de imagen 9">
            <a:extLst>
              <a:ext uri="{FF2B5EF4-FFF2-40B4-BE49-F238E27FC236}">
                <a16:creationId xmlns:a16="http://schemas.microsoft.com/office/drawing/2014/main" id="{FE00BE72-C7E8-2F4D-903C-1180A883E94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99073" y="1410588"/>
            <a:ext cx="1970694" cy="4156835"/>
          </a:xfrm>
          <a:prstGeom prst="roundRect">
            <a:avLst>
              <a:gd name="adj" fmla="val 9619"/>
            </a:avLst>
          </a:prstGeom>
          <a:solidFill>
            <a:schemeClr val="accent1">
              <a:lumMod val="20000"/>
              <a:lumOff val="80000"/>
            </a:schemeClr>
          </a:solidFill>
          <a:effectLst>
            <a:softEdge rad="0"/>
          </a:effectLst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24" name="Marcador de posición de imagen 9">
            <a:extLst>
              <a:ext uri="{FF2B5EF4-FFF2-40B4-BE49-F238E27FC236}">
                <a16:creationId xmlns:a16="http://schemas.microsoft.com/office/drawing/2014/main" id="{7DDE2EF7-DFAD-C44E-8940-BD994BA44AC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483439" y="1410588"/>
            <a:ext cx="1970694" cy="4156835"/>
          </a:xfrm>
          <a:prstGeom prst="roundRect">
            <a:avLst>
              <a:gd name="adj" fmla="val 9619"/>
            </a:avLst>
          </a:prstGeom>
          <a:solidFill>
            <a:schemeClr val="accent1">
              <a:lumMod val="20000"/>
              <a:lumOff val="80000"/>
            </a:schemeClr>
          </a:solidFill>
          <a:effectLst>
            <a:softEdge rad="0"/>
          </a:effectLst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25" name="Marcador de posición de imagen 9">
            <a:extLst>
              <a:ext uri="{FF2B5EF4-FFF2-40B4-BE49-F238E27FC236}">
                <a16:creationId xmlns:a16="http://schemas.microsoft.com/office/drawing/2014/main" id="{BA834451-5C73-3148-824F-509C5CFF195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704471" y="1410588"/>
            <a:ext cx="1970694" cy="4156835"/>
          </a:xfrm>
          <a:prstGeom prst="roundRect">
            <a:avLst>
              <a:gd name="adj" fmla="val 9619"/>
            </a:avLst>
          </a:prstGeom>
          <a:solidFill>
            <a:schemeClr val="accent1">
              <a:lumMod val="20000"/>
              <a:lumOff val="80000"/>
            </a:schemeClr>
          </a:solidFill>
          <a:effectLst>
            <a:softEdge rad="0"/>
          </a:effectLst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40189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2A_Texto_Devic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5FFCA136-7C31-A84A-968C-F247B5C818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0914" y="392431"/>
            <a:ext cx="6397000" cy="6465570"/>
          </a:xfrm>
          <a:prstGeom prst="rect">
            <a:avLst/>
          </a:prstGeom>
        </p:spPr>
      </p:pic>
      <p:sp>
        <p:nvSpPr>
          <p:cNvPr id="21" name="Marcador de posición de imagen 9">
            <a:extLst>
              <a:ext uri="{FF2B5EF4-FFF2-40B4-BE49-F238E27FC236}">
                <a16:creationId xmlns:a16="http://schemas.microsoft.com/office/drawing/2014/main" id="{92C288C0-063B-CB49-B646-425FDAED3A9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2456" y="2905246"/>
            <a:ext cx="3715473" cy="4041579"/>
          </a:xfrm>
          <a:prstGeom prst="roundRect">
            <a:avLst>
              <a:gd name="adj" fmla="val 12827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63808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003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9259" y="372639"/>
            <a:ext cx="2978350" cy="341567"/>
          </a:xfrm>
        </p:spPr>
        <p:txBody>
          <a:bodyPr>
            <a:normAutofit/>
          </a:bodyPr>
          <a:lstStyle>
            <a:lvl1pPr>
              <a:defRPr sz="1300" b="1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9798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5608" y="647835"/>
            <a:ext cx="2991110" cy="43180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3542EB-847A-134C-87D5-341B3F888D0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1390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ED21A4EA-B7DC-2249-9BBA-4D41A99B3C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1390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83">
            <a:extLst>
              <a:ext uri="{FF2B5EF4-FFF2-40B4-BE49-F238E27FC236}">
                <a16:creationId xmlns:a16="http://schemas.microsoft.com/office/drawing/2014/main" id="{846ACD11-B8D6-D347-834E-2FFC4F7678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8596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5611C3A-E7BA-8741-B713-7ECF35C208C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30188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3847668A-0F13-FD40-99C9-7D211293DC7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30188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1" name="Marcador de texto 83">
            <a:extLst>
              <a:ext uri="{FF2B5EF4-FFF2-40B4-BE49-F238E27FC236}">
                <a16:creationId xmlns:a16="http://schemas.microsoft.com/office/drawing/2014/main" id="{2A5ED1A7-3C9E-0A47-A8B4-C2B3AC78C14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5870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65B95A9-6987-F748-AD20-7165E5E8CEE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17462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7991601E-FE13-004A-B235-1C7E12150DA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7462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4" name="Marcador de texto 83">
            <a:extLst>
              <a:ext uri="{FF2B5EF4-FFF2-40B4-BE49-F238E27FC236}">
                <a16:creationId xmlns:a16="http://schemas.microsoft.com/office/drawing/2014/main" id="{B55C8E76-6CFF-6040-8FA8-33F63C85CEB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039068" y="140817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id="{69111C5F-2E5B-A941-97B9-DF3CB7452A8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054983" y="228092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E44F70FF-0454-5A49-B7FE-A299E03161D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54983" y="287528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7" name="Marcador de texto 83">
            <a:extLst>
              <a:ext uri="{FF2B5EF4-FFF2-40B4-BE49-F238E27FC236}">
                <a16:creationId xmlns:a16="http://schemas.microsoft.com/office/drawing/2014/main" id="{C6EFC7DE-FDA3-344F-BA47-77E74A7AB00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9798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DEDD6D48-A77A-1B42-A0A7-7C1FA8FB23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1390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339E1E00-EF43-9842-A5D4-7D893A6A21D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1390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0" name="Marcador de texto 83">
            <a:extLst>
              <a:ext uri="{FF2B5EF4-FFF2-40B4-BE49-F238E27FC236}">
                <a16:creationId xmlns:a16="http://schemas.microsoft.com/office/drawing/2014/main" id="{3609BFF5-C0EC-C74B-BAC5-C6247F87A15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28596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A2D9B95A-6F51-704A-8164-AE4376A524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30188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347D8AC6-F6F7-AB40-BDAE-DFA1A20F30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30188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3" name="Marcador de texto 83">
            <a:extLst>
              <a:ext uri="{FF2B5EF4-FFF2-40B4-BE49-F238E27FC236}">
                <a16:creationId xmlns:a16="http://schemas.microsoft.com/office/drawing/2014/main" id="{2175621C-7D22-9246-842E-EBEBA072199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5870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id="{857887B0-767A-9D43-9C2D-CFE8C77727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7462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79494816-53D2-E340-A80C-F39EE826D98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17462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6" name="Marcador de texto 83">
            <a:extLst>
              <a:ext uri="{FF2B5EF4-FFF2-40B4-BE49-F238E27FC236}">
                <a16:creationId xmlns:a16="http://schemas.microsoft.com/office/drawing/2014/main" id="{E903AC53-87A3-6E4D-820F-7A4F85097C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039068" y="3800851"/>
            <a:ext cx="1306871" cy="89059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id="{46EEBF2D-185D-3F40-90DD-563D0093C87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054983" y="467360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id="{F0CFAD44-F620-CD41-8005-F4C6AADCED7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54983" y="5267961"/>
            <a:ext cx="2613343" cy="645160"/>
          </a:xfrm>
        </p:spPr>
        <p:txBody>
          <a:bodyPr>
            <a:normAutofit/>
          </a:bodyPr>
          <a:lstStyle>
            <a:lvl1pPr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19556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Marcador de texto 14">
            <a:extLst>
              <a:ext uri="{FF2B5EF4-FFF2-40B4-BE49-F238E27FC236}">
                <a16:creationId xmlns:a16="http://schemas.microsoft.com/office/drawing/2014/main" id="{5820D170-CA33-064F-AA5B-1C4417E545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1" name="Marcador de texto 14">
            <a:extLst>
              <a:ext uri="{FF2B5EF4-FFF2-40B4-BE49-F238E27FC236}">
                <a16:creationId xmlns:a16="http://schemas.microsoft.com/office/drawing/2014/main" id="{A1915280-2CF9-3F45-ACA8-FD9CEA750C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2" name="Marcador de texto 14">
            <a:extLst>
              <a:ext uri="{FF2B5EF4-FFF2-40B4-BE49-F238E27FC236}">
                <a16:creationId xmlns:a16="http://schemas.microsoft.com/office/drawing/2014/main" id="{34630E89-354A-744A-AEEA-BECC4B647A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3" name="Marcador de texto 14">
            <a:extLst>
              <a:ext uri="{FF2B5EF4-FFF2-40B4-BE49-F238E27FC236}">
                <a16:creationId xmlns:a16="http://schemas.microsoft.com/office/drawing/2014/main" id="{61D1832F-3C56-3A4E-9EF8-73948C7B25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4" name="Marcador de texto 11">
            <a:extLst>
              <a:ext uri="{FF2B5EF4-FFF2-40B4-BE49-F238E27FC236}">
                <a16:creationId xmlns:a16="http://schemas.microsoft.com/office/drawing/2014/main" id="{BAED2BAE-F43D-FB47-ADB7-56880CCAF7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35" name="Marcador de texto 11">
            <a:extLst>
              <a:ext uri="{FF2B5EF4-FFF2-40B4-BE49-F238E27FC236}">
                <a16:creationId xmlns:a16="http://schemas.microsoft.com/office/drawing/2014/main" id="{CCD7D7BF-CF69-D547-94AF-47288FE3E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36" name="Marcador de texto 11">
            <a:extLst>
              <a:ext uri="{FF2B5EF4-FFF2-40B4-BE49-F238E27FC236}">
                <a16:creationId xmlns:a16="http://schemas.microsoft.com/office/drawing/2014/main" id="{76129F83-CE46-C343-A8E8-5945ADE6E9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37" name="Marcador de texto 11">
            <a:extLst>
              <a:ext uri="{FF2B5EF4-FFF2-40B4-BE49-F238E27FC236}">
                <a16:creationId xmlns:a16="http://schemas.microsoft.com/office/drawing/2014/main" id="{A3FDDF1E-80FA-7449-AEBA-6AA02EF2C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434403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40" name="Marcador de texto 14">
            <a:extLst>
              <a:ext uri="{FF2B5EF4-FFF2-40B4-BE49-F238E27FC236}">
                <a16:creationId xmlns:a16="http://schemas.microsoft.com/office/drawing/2014/main" id="{54523B5B-5365-1242-8837-04D849AF45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1" name="Marcador de texto 14">
            <a:extLst>
              <a:ext uri="{FF2B5EF4-FFF2-40B4-BE49-F238E27FC236}">
                <a16:creationId xmlns:a16="http://schemas.microsoft.com/office/drawing/2014/main" id="{56134211-3DD7-B241-9A1B-48BD23664B8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2" name="Marcador de texto 14">
            <a:extLst>
              <a:ext uri="{FF2B5EF4-FFF2-40B4-BE49-F238E27FC236}">
                <a16:creationId xmlns:a16="http://schemas.microsoft.com/office/drawing/2014/main" id="{08E2D2BA-BECD-C64C-968C-572432AA61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3" name="Marcador de texto 14">
            <a:extLst>
              <a:ext uri="{FF2B5EF4-FFF2-40B4-BE49-F238E27FC236}">
                <a16:creationId xmlns:a16="http://schemas.microsoft.com/office/drawing/2014/main" id="{982A13FD-8176-9641-A027-05CF3D63187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4" name="Marcador de texto 11">
            <a:extLst>
              <a:ext uri="{FF2B5EF4-FFF2-40B4-BE49-F238E27FC236}">
                <a16:creationId xmlns:a16="http://schemas.microsoft.com/office/drawing/2014/main" id="{AA7CEA59-0975-2141-82D4-A6E0742AA2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5" name="Marcador de texto 11">
            <a:extLst>
              <a:ext uri="{FF2B5EF4-FFF2-40B4-BE49-F238E27FC236}">
                <a16:creationId xmlns:a16="http://schemas.microsoft.com/office/drawing/2014/main" id="{FBCCC1DB-85D7-624E-8650-B36A90E4F6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6" name="Marcador de texto 11">
            <a:extLst>
              <a:ext uri="{FF2B5EF4-FFF2-40B4-BE49-F238E27FC236}">
                <a16:creationId xmlns:a16="http://schemas.microsoft.com/office/drawing/2014/main" id="{57FC4880-8E44-624A-BB30-FD697E9A1A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7" name="Marcador de texto 11">
            <a:extLst>
              <a:ext uri="{FF2B5EF4-FFF2-40B4-BE49-F238E27FC236}">
                <a16:creationId xmlns:a16="http://schemas.microsoft.com/office/drawing/2014/main" id="{CCAABC16-779C-0E4B-9DF2-D8DA628C8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65830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8" name="Marcador de texto 14">
            <a:extLst>
              <a:ext uri="{FF2B5EF4-FFF2-40B4-BE49-F238E27FC236}">
                <a16:creationId xmlns:a16="http://schemas.microsoft.com/office/drawing/2014/main" id="{750A0E14-B254-E740-BC6B-63C74B9B7F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9" name="Marcador de texto 14">
            <a:extLst>
              <a:ext uri="{FF2B5EF4-FFF2-40B4-BE49-F238E27FC236}">
                <a16:creationId xmlns:a16="http://schemas.microsoft.com/office/drawing/2014/main" id="{6F9E349F-C81F-154A-B323-DDDB518C6A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0" name="Marcador de texto 14">
            <a:extLst>
              <a:ext uri="{FF2B5EF4-FFF2-40B4-BE49-F238E27FC236}">
                <a16:creationId xmlns:a16="http://schemas.microsoft.com/office/drawing/2014/main" id="{5EA3276C-69B0-2D41-AAC8-55F294FC38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1" name="Marcador de texto 14">
            <a:extLst>
              <a:ext uri="{FF2B5EF4-FFF2-40B4-BE49-F238E27FC236}">
                <a16:creationId xmlns:a16="http://schemas.microsoft.com/office/drawing/2014/main" id="{232F9BB8-BCDA-E749-947B-A8F98788718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39140"/>
            <a:ext cx="2160588" cy="637875"/>
          </a:xfrm>
        </p:spPr>
        <p:txBody>
          <a:bodyPr wrap="square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42" name="Marcador de texto 11">
            <a:extLst>
              <a:ext uri="{FF2B5EF4-FFF2-40B4-BE49-F238E27FC236}">
                <a16:creationId xmlns:a16="http://schemas.microsoft.com/office/drawing/2014/main" id="{388D44E6-13AE-6A40-8FB1-08D138C31F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3" name="Marcador de texto 11">
            <a:extLst>
              <a:ext uri="{FF2B5EF4-FFF2-40B4-BE49-F238E27FC236}">
                <a16:creationId xmlns:a16="http://schemas.microsoft.com/office/drawing/2014/main" id="{B7D73845-4200-7441-921A-95B72AD8A8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4" name="Marcador de texto 11">
            <a:extLst>
              <a:ext uri="{FF2B5EF4-FFF2-40B4-BE49-F238E27FC236}">
                <a16:creationId xmlns:a16="http://schemas.microsoft.com/office/drawing/2014/main" id="{85A33D81-2274-2B4E-AA6A-CDADB93389D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45" name="Marcador de texto 11">
            <a:extLst>
              <a:ext uri="{FF2B5EF4-FFF2-40B4-BE49-F238E27FC236}">
                <a16:creationId xmlns:a16="http://schemas.microsoft.com/office/drawing/2014/main" id="{44653EE1-4F0D-1248-A3F6-B0E826FA75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0530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700"/>
              </a:spcBef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76199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580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Interior Quo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1449388"/>
            <a:ext cx="11160125" cy="3959224"/>
          </a:xfrm>
        </p:spPr>
        <p:txBody>
          <a:bodyPr anchor="ctr">
            <a:normAutofit/>
          </a:bodyPr>
          <a:lstStyle>
            <a:lvl1pPr algn="ctr">
              <a:defRPr sz="7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“Inserta aquí una frase </a:t>
            </a:r>
            <a:br>
              <a:rPr lang="es-ES"/>
            </a:br>
            <a:r>
              <a:rPr lang="es-ES"/>
              <a:t>para recordar”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contenido 6">
            <a:extLst>
              <a:ext uri="{FF2B5EF4-FFF2-40B4-BE49-F238E27FC236}">
                <a16:creationId xmlns:a16="http://schemas.microsoft.com/office/drawing/2014/main" id="{8F64FD58-3B71-7549-AEDD-08C69E86DA6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42632" y="4487713"/>
            <a:ext cx="7706735" cy="930130"/>
          </a:xfrm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Autor de la frase</a:t>
            </a:r>
          </a:p>
        </p:txBody>
      </p:sp>
    </p:spTree>
    <p:extLst>
      <p:ext uri="{BB962C8B-B14F-4D97-AF65-F5344CB8AC3E}">
        <p14:creationId xmlns:p14="http://schemas.microsoft.com/office/powerpoint/2010/main" val="26076351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Interior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1449388"/>
            <a:ext cx="11160125" cy="3959224"/>
          </a:xfrm>
        </p:spPr>
        <p:txBody>
          <a:bodyPr anchor="ctr">
            <a:normAutofit/>
          </a:bodyPr>
          <a:lstStyle>
            <a:lvl1pPr algn="ctr"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“Inserta aquí una frase </a:t>
            </a:r>
            <a:br>
              <a:rPr lang="es-ES"/>
            </a:br>
            <a:r>
              <a:rPr lang="es-ES"/>
              <a:t>para recordar”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A658CB81-82E6-9940-B223-8B223817FF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42632" y="4487713"/>
            <a:ext cx="7706735" cy="930130"/>
          </a:xfrm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Autor de la frase</a:t>
            </a:r>
          </a:p>
        </p:txBody>
      </p:sp>
    </p:spTree>
    <p:extLst>
      <p:ext uri="{BB962C8B-B14F-4D97-AF65-F5344CB8AC3E}">
        <p14:creationId xmlns:p14="http://schemas.microsoft.com/office/powerpoint/2010/main" val="17423900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Interior Cifra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B9456C76-22B2-A74C-878E-9F6A6BB8A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1" y="1745319"/>
            <a:ext cx="3704934" cy="962955"/>
          </a:xfr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Incremento de ventas</a:t>
            </a:r>
          </a:p>
        </p:txBody>
      </p:sp>
      <p:sp>
        <p:nvSpPr>
          <p:cNvPr id="17" name="Marcador de texto 14">
            <a:extLst>
              <a:ext uri="{FF2B5EF4-FFF2-40B4-BE49-F238E27FC236}">
                <a16:creationId xmlns:a16="http://schemas.microsoft.com/office/drawing/2014/main" id="{3DA4AD73-8EBC-0845-AA40-1DC1FB657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4970" y="1745320"/>
            <a:ext cx="7542068" cy="3433960"/>
          </a:xfrm>
        </p:spPr>
        <p:txBody>
          <a:bodyPr/>
          <a:lstStyle>
            <a:lvl1pPr marL="0" indent="0">
              <a:buNone/>
              <a:defRPr sz="18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+123%</a:t>
            </a:r>
            <a:br>
              <a:rPr lang="es-ES"/>
            </a:br>
            <a:r>
              <a:rPr lang="es-E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169591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Interior Cifra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B9456C76-22B2-A74C-878E-9F6A6BB8A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1" y="1745319"/>
            <a:ext cx="3704934" cy="96295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Incremento de ventas</a:t>
            </a:r>
          </a:p>
        </p:txBody>
      </p:sp>
      <p:sp>
        <p:nvSpPr>
          <p:cNvPr id="17" name="Marcador de texto 14">
            <a:extLst>
              <a:ext uri="{FF2B5EF4-FFF2-40B4-BE49-F238E27FC236}">
                <a16:creationId xmlns:a16="http://schemas.microsoft.com/office/drawing/2014/main" id="{3DA4AD73-8EBC-0845-AA40-1DC1FB657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4970" y="1745320"/>
            <a:ext cx="7542068" cy="3433960"/>
          </a:xfrm>
        </p:spPr>
        <p:txBody>
          <a:bodyPr/>
          <a:lstStyle>
            <a:lvl1pPr marL="0" indent="0">
              <a:buNone/>
              <a:defRPr sz="18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+123%</a:t>
            </a:r>
            <a:br>
              <a:rPr lang="es-ES"/>
            </a:br>
            <a:r>
              <a:rPr lang="es-E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8081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Interior Cifras Compara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D79B6336-6A78-0243-88BC-2CE7E40C89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048" y="3244306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1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2502DF25-C92B-3743-BFEF-DF2E089654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4741" y="1745320"/>
            <a:ext cx="5382764" cy="1467551"/>
          </a:xfrm>
        </p:spPr>
        <p:txBody>
          <a:bodyPr/>
          <a:lstStyle>
            <a:lvl1pPr marL="0" indent="0">
              <a:buNone/>
              <a:defRPr sz="1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"/>
              <a:t>123%</a:t>
            </a:r>
          </a:p>
        </p:txBody>
      </p:sp>
      <p:sp>
        <p:nvSpPr>
          <p:cNvPr id="14" name="Marcador de texto 14">
            <a:extLst>
              <a:ext uri="{FF2B5EF4-FFF2-40B4-BE49-F238E27FC236}">
                <a16:creationId xmlns:a16="http://schemas.microsoft.com/office/drawing/2014/main" id="{956FCFF6-B896-DE4E-A627-82386622BD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7393" y="1745320"/>
            <a:ext cx="5382764" cy="1467551"/>
          </a:xfrm>
        </p:spPr>
        <p:txBody>
          <a:bodyPr>
            <a:noAutofit/>
          </a:bodyPr>
          <a:lstStyle>
            <a:lvl1pPr marL="0" indent="0">
              <a:buNone/>
              <a:defRPr sz="1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/>
              <a:t>114%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15" name="Marcador de texto 12">
            <a:extLst>
              <a:ext uri="{FF2B5EF4-FFF2-40B4-BE49-F238E27FC236}">
                <a16:creationId xmlns:a16="http://schemas.microsoft.com/office/drawing/2014/main" id="{10479486-D817-1F49-A824-F4B1B4FDF0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1143" y="3244306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2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E94E3EC7-49BF-8A4B-9BCB-8A02786B1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18">
            <a:extLst>
              <a:ext uri="{FF2B5EF4-FFF2-40B4-BE49-F238E27FC236}">
                <a16:creationId xmlns:a16="http://schemas.microsoft.com/office/drawing/2014/main" id="{B2A20367-67FD-8241-A93C-0AAEC4FD23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</p:spTree>
    <p:extLst>
      <p:ext uri="{BB962C8B-B14F-4D97-AF65-F5344CB8AC3E}">
        <p14:creationId xmlns:p14="http://schemas.microsoft.com/office/powerpoint/2010/main" val="40659578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Interior Cifras Compara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B9456C76-22B2-A74C-878E-9F6A6BB8A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048" y="3244306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1</a:t>
            </a:r>
          </a:p>
        </p:txBody>
      </p:sp>
      <p:sp>
        <p:nvSpPr>
          <p:cNvPr id="17" name="Marcador de texto 14">
            <a:extLst>
              <a:ext uri="{FF2B5EF4-FFF2-40B4-BE49-F238E27FC236}">
                <a16:creationId xmlns:a16="http://schemas.microsoft.com/office/drawing/2014/main" id="{3DA4AD73-8EBC-0845-AA40-1DC1FB657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4741" y="1745320"/>
            <a:ext cx="5382764" cy="1467551"/>
          </a:xfrm>
        </p:spPr>
        <p:txBody>
          <a:bodyPr/>
          <a:lstStyle>
            <a:lvl1pPr marL="0" indent="0">
              <a:buNone/>
              <a:defRPr sz="1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"/>
              <a:t>123%</a:t>
            </a:r>
          </a:p>
        </p:txBody>
      </p:sp>
      <p:sp>
        <p:nvSpPr>
          <p:cNvPr id="7" name="Marcador de texto 14">
            <a:extLst>
              <a:ext uri="{FF2B5EF4-FFF2-40B4-BE49-F238E27FC236}">
                <a16:creationId xmlns:a16="http://schemas.microsoft.com/office/drawing/2014/main" id="{D07CC79F-0A9F-184D-AF94-6FC92E134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7393" y="1745320"/>
            <a:ext cx="5382764" cy="1467551"/>
          </a:xfrm>
        </p:spPr>
        <p:txBody>
          <a:bodyPr>
            <a:noAutofit/>
          </a:bodyPr>
          <a:lstStyle>
            <a:lvl1pPr marL="0" indent="0">
              <a:buNone/>
              <a:defRPr sz="1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/>
              <a:t>114%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E15C2393-1803-2E43-9E19-5580DC14BF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1143" y="3244306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2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58285D08-F6C9-ED4D-98B1-7B64788DF3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048" y="5402953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3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B842393F-36BF-FE44-9E4F-38A910823B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4741" y="3923036"/>
            <a:ext cx="5382764" cy="1467551"/>
          </a:xfrm>
        </p:spPr>
        <p:txBody>
          <a:bodyPr/>
          <a:lstStyle>
            <a:lvl1pPr marL="0" indent="0">
              <a:buNone/>
              <a:defRPr sz="1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s-ES"/>
              <a:t>123%</a:t>
            </a:r>
          </a:p>
        </p:txBody>
      </p:sp>
      <p:sp>
        <p:nvSpPr>
          <p:cNvPr id="14" name="Marcador de texto 14">
            <a:extLst>
              <a:ext uri="{FF2B5EF4-FFF2-40B4-BE49-F238E27FC236}">
                <a16:creationId xmlns:a16="http://schemas.microsoft.com/office/drawing/2014/main" id="{B0BCDA13-C1BC-EF4A-8643-7BCAF7452B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7393" y="3923036"/>
            <a:ext cx="5382764" cy="1467551"/>
          </a:xfrm>
        </p:spPr>
        <p:txBody>
          <a:bodyPr>
            <a:noAutofit/>
          </a:bodyPr>
          <a:lstStyle>
            <a:lvl1pPr marL="0" indent="0">
              <a:buNone/>
              <a:defRPr sz="1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114%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15" name="Marcador de texto 12">
            <a:extLst>
              <a:ext uri="{FF2B5EF4-FFF2-40B4-BE49-F238E27FC236}">
                <a16:creationId xmlns:a16="http://schemas.microsoft.com/office/drawing/2014/main" id="{9810D972-2029-5F45-B627-32F9CA322E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1143" y="5402953"/>
            <a:ext cx="3704934" cy="365125"/>
          </a:xfrm>
        </p:spPr>
        <p:txBody>
          <a:bodyPr/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/>
              <a:t>Valor 4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28B53299-B0A8-564F-8E89-642D30DB86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18">
            <a:extLst>
              <a:ext uri="{FF2B5EF4-FFF2-40B4-BE49-F238E27FC236}">
                <a16:creationId xmlns:a16="http://schemas.microsoft.com/office/drawing/2014/main" id="{8C16F6EC-ED17-EC40-B6C8-9797AFB8A7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</p:spTree>
    <p:extLst>
      <p:ext uri="{BB962C8B-B14F-4D97-AF65-F5344CB8AC3E}">
        <p14:creationId xmlns:p14="http://schemas.microsoft.com/office/powerpoint/2010/main" val="2458747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_Numer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/>
          <a:lstStyle>
            <a:lvl1pPr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>
              <a:defRPr baseline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>
              <a:defRPr sz="34000" b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331241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Interior Cifras Compara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ED5AB91-3D4E-154E-AFA5-85CA329D9754}"/>
              </a:ext>
            </a:extLst>
          </p:cNvPr>
          <p:cNvGrpSpPr/>
          <p:nvPr userDrawn="1"/>
        </p:nvGrpSpPr>
        <p:grpSpPr>
          <a:xfrm>
            <a:off x="515937" y="1628775"/>
            <a:ext cx="11151322" cy="4321175"/>
            <a:chOff x="515937" y="1628775"/>
            <a:chExt cx="10577180" cy="432117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691D404-60F3-9B4C-9D73-F2133FF63038}"/>
                </a:ext>
              </a:extLst>
            </p:cNvPr>
            <p:cNvSpPr/>
            <p:nvPr userDrawn="1"/>
          </p:nvSpPr>
          <p:spPr>
            <a:xfrm>
              <a:off x="515937" y="1628775"/>
              <a:ext cx="2516021" cy="4321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13317DB-94D3-5342-9F07-A58E5D61B63D}"/>
                </a:ext>
              </a:extLst>
            </p:cNvPr>
            <p:cNvSpPr/>
            <p:nvPr userDrawn="1"/>
          </p:nvSpPr>
          <p:spPr>
            <a:xfrm>
              <a:off x="3211011" y="1628775"/>
              <a:ext cx="2516021" cy="43211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FB6D347-4296-2942-808B-6B9A10D6709B}"/>
                </a:ext>
              </a:extLst>
            </p:cNvPr>
            <p:cNvSpPr/>
            <p:nvPr userDrawn="1"/>
          </p:nvSpPr>
          <p:spPr>
            <a:xfrm>
              <a:off x="5882022" y="1628775"/>
              <a:ext cx="2516021" cy="4321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12B1A72-915B-9D44-A917-B391D7653EC1}"/>
                </a:ext>
              </a:extLst>
            </p:cNvPr>
            <p:cNvSpPr/>
            <p:nvPr userDrawn="1"/>
          </p:nvSpPr>
          <p:spPr>
            <a:xfrm>
              <a:off x="8577096" y="1628775"/>
              <a:ext cx="2516021" cy="4321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B9456C76-22B2-A74C-878E-9F6A6BB8A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6" y="2790399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Value</a:t>
            </a:r>
            <a:r>
              <a:rPr lang="es-ES"/>
              <a:t> 1</a:t>
            </a:r>
          </a:p>
        </p:txBody>
      </p:sp>
      <p:sp>
        <p:nvSpPr>
          <p:cNvPr id="17" name="Marcador de texto 14">
            <a:extLst>
              <a:ext uri="{FF2B5EF4-FFF2-40B4-BE49-F238E27FC236}">
                <a16:creationId xmlns:a16="http://schemas.microsoft.com/office/drawing/2014/main" id="{3DA4AD73-8EBC-0845-AA40-1DC1FB657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3944" y="3155524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D4DBB2FD-8D2E-434A-93FC-A2860E96E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18">
            <a:extLst>
              <a:ext uri="{FF2B5EF4-FFF2-40B4-BE49-F238E27FC236}">
                <a16:creationId xmlns:a16="http://schemas.microsoft.com/office/drawing/2014/main" id="{48AAB04D-42BF-DC42-85CE-FD3D9C385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28956033-C0C7-DD4C-8579-652293F7AA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5389" y="2790399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Value</a:t>
            </a:r>
            <a:r>
              <a:rPr lang="es-ES"/>
              <a:t> 2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89646701-691E-594B-9CA8-2C3BB51089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97" y="3155524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1EC50B5D-B621-184E-9FB1-FC4C5DE475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6716" y="2790399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Value</a:t>
            </a:r>
            <a:r>
              <a:rPr lang="es-ES"/>
              <a:t> 3</a:t>
            </a:r>
          </a:p>
        </p:txBody>
      </p:sp>
      <p:sp>
        <p:nvSpPr>
          <p:cNvPr id="28" name="Marcador de texto 14">
            <a:extLst>
              <a:ext uri="{FF2B5EF4-FFF2-40B4-BE49-F238E27FC236}">
                <a16:creationId xmlns:a16="http://schemas.microsoft.com/office/drawing/2014/main" id="{FE55AEE3-A6B8-4C48-A792-666D3BACB4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24724" y="3155524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29" name="Marcador de texto 12">
            <a:extLst>
              <a:ext uri="{FF2B5EF4-FFF2-40B4-BE49-F238E27FC236}">
                <a16:creationId xmlns:a16="http://schemas.microsoft.com/office/drawing/2014/main" id="{E7B998E0-6B80-F64E-80A3-2F43CA93C5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0232" y="2790399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Value</a:t>
            </a:r>
            <a:r>
              <a:rPr lang="es-ES"/>
              <a:t> 4</a:t>
            </a:r>
          </a:p>
        </p:txBody>
      </p:sp>
      <p:sp>
        <p:nvSpPr>
          <p:cNvPr id="30" name="Marcador de texto 14">
            <a:extLst>
              <a:ext uri="{FF2B5EF4-FFF2-40B4-BE49-F238E27FC236}">
                <a16:creationId xmlns:a16="http://schemas.microsoft.com/office/drawing/2014/main" id="{97F3425A-1656-B341-A8DE-550185BE84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88240" y="3155524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14075771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Interior Cifras Compara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BA053DB-C6EA-5541-BC2D-8240FD5B7C03}"/>
              </a:ext>
            </a:extLst>
          </p:cNvPr>
          <p:cNvGrpSpPr/>
          <p:nvPr userDrawn="1"/>
        </p:nvGrpSpPr>
        <p:grpSpPr>
          <a:xfrm>
            <a:off x="515937" y="1628775"/>
            <a:ext cx="11151322" cy="4321175"/>
            <a:chOff x="515937" y="1628775"/>
            <a:chExt cx="11151322" cy="891723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ED5AB91-3D4E-154E-AFA5-85CA329D9754}"/>
                </a:ext>
              </a:extLst>
            </p:cNvPr>
            <p:cNvGrpSpPr/>
            <p:nvPr userDrawn="1"/>
          </p:nvGrpSpPr>
          <p:grpSpPr>
            <a:xfrm>
              <a:off x="515937" y="1628775"/>
              <a:ext cx="11151322" cy="4321175"/>
              <a:chOff x="515937" y="1628775"/>
              <a:chExt cx="10577180" cy="4321175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691D404-60F3-9B4C-9D73-F2133FF63038}"/>
                  </a:ext>
                </a:extLst>
              </p:cNvPr>
              <p:cNvSpPr/>
              <p:nvPr userDrawn="1"/>
            </p:nvSpPr>
            <p:spPr>
              <a:xfrm>
                <a:off x="515937" y="1628775"/>
                <a:ext cx="2516021" cy="4321175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13317DB-94D3-5342-9F07-A58E5D61B63D}"/>
                  </a:ext>
                </a:extLst>
              </p:cNvPr>
              <p:cNvSpPr/>
              <p:nvPr userDrawn="1"/>
            </p:nvSpPr>
            <p:spPr>
              <a:xfrm>
                <a:off x="3211011" y="1628775"/>
                <a:ext cx="2516021" cy="4321175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FB6D347-4296-2942-808B-6B9A10D6709B}"/>
                  </a:ext>
                </a:extLst>
              </p:cNvPr>
              <p:cNvSpPr/>
              <p:nvPr userDrawn="1"/>
            </p:nvSpPr>
            <p:spPr>
              <a:xfrm>
                <a:off x="5882022" y="1628775"/>
                <a:ext cx="2516021" cy="4321175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D12B1A72-915B-9D44-A917-B391D7653EC1}"/>
                  </a:ext>
                </a:extLst>
              </p:cNvPr>
              <p:cNvSpPr/>
              <p:nvPr userDrawn="1"/>
            </p:nvSpPr>
            <p:spPr>
              <a:xfrm>
                <a:off x="8577096" y="1628775"/>
                <a:ext cx="2516021" cy="4321175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F38C360-BE86-8749-972D-DC2E5711DBA6}"/>
                </a:ext>
              </a:extLst>
            </p:cNvPr>
            <p:cNvGrpSpPr/>
            <p:nvPr userDrawn="1"/>
          </p:nvGrpSpPr>
          <p:grpSpPr>
            <a:xfrm>
              <a:off x="515937" y="6224838"/>
              <a:ext cx="11151322" cy="4321175"/>
              <a:chOff x="515937" y="1628775"/>
              <a:chExt cx="10577180" cy="4321175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BDD888C-0A16-7341-963A-3A4A53A6C13D}"/>
                  </a:ext>
                </a:extLst>
              </p:cNvPr>
              <p:cNvSpPr/>
              <p:nvPr userDrawn="1"/>
            </p:nvSpPr>
            <p:spPr>
              <a:xfrm>
                <a:off x="515937" y="1628775"/>
                <a:ext cx="2516021" cy="432117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0365EF9E-7EB4-C741-8861-666F57BA7FFB}"/>
                  </a:ext>
                </a:extLst>
              </p:cNvPr>
              <p:cNvSpPr/>
              <p:nvPr userDrawn="1"/>
            </p:nvSpPr>
            <p:spPr>
              <a:xfrm>
                <a:off x="3211011" y="1628775"/>
                <a:ext cx="2516021" cy="432117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49171E3-ED97-5343-912F-E30C59F88EEB}"/>
                  </a:ext>
                </a:extLst>
              </p:cNvPr>
              <p:cNvSpPr/>
              <p:nvPr userDrawn="1"/>
            </p:nvSpPr>
            <p:spPr>
              <a:xfrm>
                <a:off x="5882022" y="1628775"/>
                <a:ext cx="2516021" cy="432117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3B5A1A4-82F7-4545-A06F-9659A81D3302}"/>
                  </a:ext>
                </a:extLst>
              </p:cNvPr>
              <p:cNvSpPr/>
              <p:nvPr userDrawn="1"/>
            </p:nvSpPr>
            <p:spPr>
              <a:xfrm>
                <a:off x="8577096" y="1628775"/>
                <a:ext cx="2516021" cy="432117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B9456C76-22B2-A74C-878E-9F6A6BB8A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6" y="20255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0</a:t>
            </a:r>
          </a:p>
        </p:txBody>
      </p:sp>
      <p:sp>
        <p:nvSpPr>
          <p:cNvPr id="17" name="Marcador de texto 14">
            <a:extLst>
              <a:ext uri="{FF2B5EF4-FFF2-40B4-BE49-F238E27FC236}">
                <a16:creationId xmlns:a16="http://schemas.microsoft.com/office/drawing/2014/main" id="{3DA4AD73-8EBC-0845-AA40-1DC1FB6576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3944" y="23906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D4DBB2FD-8D2E-434A-93FC-A2860E96E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18">
            <a:extLst>
              <a:ext uri="{FF2B5EF4-FFF2-40B4-BE49-F238E27FC236}">
                <a16:creationId xmlns:a16="http://schemas.microsoft.com/office/drawing/2014/main" id="{48AAB04D-42BF-DC42-85CE-FD3D9C385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28956033-C0C7-DD4C-8579-652293F7AA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5389" y="20255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0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89646701-691E-594B-9CA8-2C3BB51089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3397" y="23906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1EC50B5D-B621-184E-9FB1-FC4C5DE475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6716" y="20255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0</a:t>
            </a:r>
          </a:p>
        </p:txBody>
      </p:sp>
      <p:sp>
        <p:nvSpPr>
          <p:cNvPr id="28" name="Marcador de texto 14">
            <a:extLst>
              <a:ext uri="{FF2B5EF4-FFF2-40B4-BE49-F238E27FC236}">
                <a16:creationId xmlns:a16="http://schemas.microsoft.com/office/drawing/2014/main" id="{FE55AEE3-A6B8-4C48-A792-666D3BACB4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24724" y="23906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29" name="Marcador de texto 12">
            <a:extLst>
              <a:ext uri="{FF2B5EF4-FFF2-40B4-BE49-F238E27FC236}">
                <a16:creationId xmlns:a16="http://schemas.microsoft.com/office/drawing/2014/main" id="{E7B998E0-6B80-F64E-80A3-2F43CA93C5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0232" y="20255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0</a:t>
            </a:r>
          </a:p>
        </p:txBody>
      </p:sp>
      <p:sp>
        <p:nvSpPr>
          <p:cNvPr id="30" name="Marcador de texto 14">
            <a:extLst>
              <a:ext uri="{FF2B5EF4-FFF2-40B4-BE49-F238E27FC236}">
                <a16:creationId xmlns:a16="http://schemas.microsoft.com/office/drawing/2014/main" id="{97F3425A-1656-B341-A8DE-550185BE84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88240" y="23906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34" name="Marcador de texto 12">
            <a:extLst>
              <a:ext uri="{FF2B5EF4-FFF2-40B4-BE49-F238E27FC236}">
                <a16:creationId xmlns:a16="http://schemas.microsoft.com/office/drawing/2014/main" id="{C1B8E7DC-1D1B-1644-A8AE-2ACECEB3EC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5936" y="41591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1</a:t>
            </a:r>
          </a:p>
        </p:txBody>
      </p:sp>
      <p:sp>
        <p:nvSpPr>
          <p:cNvPr id="35" name="Marcador de texto 14">
            <a:extLst>
              <a:ext uri="{FF2B5EF4-FFF2-40B4-BE49-F238E27FC236}">
                <a16:creationId xmlns:a16="http://schemas.microsoft.com/office/drawing/2014/main" id="{B68441EE-4400-6A4B-B8F9-870EA36324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944" y="45242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36" name="Marcador de texto 12">
            <a:extLst>
              <a:ext uri="{FF2B5EF4-FFF2-40B4-BE49-F238E27FC236}">
                <a16:creationId xmlns:a16="http://schemas.microsoft.com/office/drawing/2014/main" id="{BBD246EB-E684-1D4F-9A63-799BD30D23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55389" y="41591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1</a:t>
            </a:r>
          </a:p>
        </p:txBody>
      </p:sp>
      <p:sp>
        <p:nvSpPr>
          <p:cNvPr id="37" name="Marcador de texto 14">
            <a:extLst>
              <a:ext uri="{FF2B5EF4-FFF2-40B4-BE49-F238E27FC236}">
                <a16:creationId xmlns:a16="http://schemas.microsoft.com/office/drawing/2014/main" id="{F4A80A39-59EA-8340-A7CE-9B6E94F0F0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33397" y="45242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38" name="Marcador de texto 12">
            <a:extLst>
              <a:ext uri="{FF2B5EF4-FFF2-40B4-BE49-F238E27FC236}">
                <a16:creationId xmlns:a16="http://schemas.microsoft.com/office/drawing/2014/main" id="{DA13262A-221F-BA4B-A52C-90FA616484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46716" y="41591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1</a:t>
            </a:r>
          </a:p>
        </p:txBody>
      </p:sp>
      <p:sp>
        <p:nvSpPr>
          <p:cNvPr id="39" name="Marcador de texto 14">
            <a:extLst>
              <a:ext uri="{FF2B5EF4-FFF2-40B4-BE49-F238E27FC236}">
                <a16:creationId xmlns:a16="http://schemas.microsoft.com/office/drawing/2014/main" id="{08C219B6-6F27-CA4B-986F-08B0D77D0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24724" y="45242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  <p:sp>
        <p:nvSpPr>
          <p:cNvPr id="40" name="Marcador de texto 12">
            <a:extLst>
              <a:ext uri="{FF2B5EF4-FFF2-40B4-BE49-F238E27FC236}">
                <a16:creationId xmlns:a16="http://schemas.microsoft.com/office/drawing/2014/main" id="{EA0EDDBC-D9DD-4545-8DF4-57B72F6C68C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0232" y="4159130"/>
            <a:ext cx="2677964" cy="365125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2021</a:t>
            </a:r>
          </a:p>
        </p:txBody>
      </p:sp>
      <p:sp>
        <p:nvSpPr>
          <p:cNvPr id="41" name="Marcador de texto 14">
            <a:extLst>
              <a:ext uri="{FF2B5EF4-FFF2-40B4-BE49-F238E27FC236}">
                <a16:creationId xmlns:a16="http://schemas.microsoft.com/office/drawing/2014/main" id="{03E92C5E-152C-8D4F-9B0E-1C0D56836A6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88240" y="4524255"/>
            <a:ext cx="2699956" cy="994201"/>
          </a:xfrm>
        </p:spPr>
        <p:txBody>
          <a:bodyPr>
            <a:normAutofit/>
          </a:bodyPr>
          <a:lstStyle>
            <a:lvl1pPr marL="0" indent="0" algn="ctr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39317718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2546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6196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3361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1549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18">
            <a:extLst>
              <a:ext uri="{FF2B5EF4-FFF2-40B4-BE49-F238E27FC236}">
                <a16:creationId xmlns:a16="http://schemas.microsoft.com/office/drawing/2014/main" id="{C96C1A6C-E638-5E4F-9347-FEB4C0A947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</p:spTree>
    <p:extLst>
      <p:ext uri="{BB962C8B-B14F-4D97-AF65-F5344CB8AC3E}">
        <p14:creationId xmlns:p14="http://schemas.microsoft.com/office/powerpoint/2010/main" val="22581210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Marcador de contenido">
            <a:extLst>
              <a:ext uri="{FF2B5EF4-FFF2-40B4-BE49-F238E27FC236}">
                <a16:creationId xmlns:a16="http://schemas.microsoft.com/office/drawing/2014/main" id="{B864F604-951D-5548-BF47-1B7A87864DF8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388914" y="455787"/>
            <a:ext cx="11360174" cy="4173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0" i="0" baseline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1 Título">
            <a:extLst>
              <a:ext uri="{FF2B5EF4-FFF2-40B4-BE49-F238E27FC236}">
                <a16:creationId xmlns:a16="http://schemas.microsoft.com/office/drawing/2014/main" id="{964AE3C4-F883-BF45-A8E5-C0C7637E4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14" y="873125"/>
            <a:ext cx="11360174" cy="43180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1400" b="0" i="0" baseline="0">
                <a:solidFill>
                  <a:schemeClr val="tx2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9" name="Marcador de contenido 13">
            <a:extLst>
              <a:ext uri="{FF2B5EF4-FFF2-40B4-BE49-F238E27FC236}">
                <a16:creationId xmlns:a16="http://schemas.microsoft.com/office/drawing/2014/main" id="{3D7084D9-7531-814F-9EA7-BEB6CCE85EC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1440" y="1736511"/>
            <a:ext cx="5716899" cy="592137"/>
          </a:xfrm>
          <a:prstGeom prst="rect">
            <a:avLst/>
          </a:prstGeom>
        </p:spPr>
        <p:txBody>
          <a:bodyPr/>
          <a:lstStyle>
            <a:lvl1pPr marL="14288" indent="-14288">
              <a:spcAft>
                <a:spcPts val="1800"/>
              </a:spcAft>
              <a:buNone/>
              <a:tabLst/>
              <a:defRPr lang="es-ES" sz="1600" b="0" i="0" kern="1200" baseline="0" dirty="0" smtClean="0">
                <a:solidFill>
                  <a:srgbClr val="575757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1pPr>
            <a:lvl2pPr>
              <a:spcAft>
                <a:spcPts val="1800"/>
              </a:spcAft>
              <a:buFont typeface="Arial" panose="020B0604020202020204" pitchFamily="34" charset="0"/>
              <a:buChar char="•"/>
              <a:defRPr lang="es-ES" sz="1600" b="0" i="0" kern="1200" baseline="0" dirty="0" smtClean="0">
                <a:solidFill>
                  <a:srgbClr val="575757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2pPr>
            <a:lvl3pPr>
              <a:spcAft>
                <a:spcPts val="1800"/>
              </a:spcAft>
              <a:buFont typeface="Courier New" panose="02070309020205020404" pitchFamily="49" charset="0"/>
              <a:buChar char="o"/>
              <a:defRPr lang="es-ES" sz="1600" b="0" i="0" kern="1200" baseline="0" dirty="0" smtClean="0">
                <a:solidFill>
                  <a:srgbClr val="575757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3pPr>
            <a:lvl4pPr>
              <a:spcAft>
                <a:spcPts val="1800"/>
              </a:spcAft>
              <a:defRPr lang="es-ES" sz="1600" b="0" i="0" kern="1200" baseline="0" dirty="0" smtClean="0">
                <a:solidFill>
                  <a:srgbClr val="575757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4pPr>
            <a:lvl5pPr>
              <a:spcAft>
                <a:spcPts val="1800"/>
              </a:spcAft>
              <a:defRPr lang="es-ES_tradnl" sz="1600" b="0" i="0" kern="1200" baseline="0" dirty="0">
                <a:solidFill>
                  <a:srgbClr val="575757"/>
                </a:solidFill>
                <a:latin typeface="Arial" panose="020B0604020202020204" pitchFamily="34" charset="0"/>
                <a:ea typeface="Telefonica Light" pitchFamily="2" charset="77"/>
                <a:cs typeface="Arial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090638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2392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679696"/>
              </p:ext>
            </p:ext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36" imgH="336" progId="TCLayout.ActiveDocument.1">
                  <p:embed/>
                </p:oleObj>
              </mc:Choice>
              <mc:Fallback>
                <p:oleObj name="Diapositiva de think-cell" r:id="rId3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201877" y="357178"/>
            <a:ext cx="11880851" cy="658831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8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err="1"/>
              <a:t>Click</a:t>
            </a:r>
            <a:r>
              <a:rPr lang="es-ES" altLang="es-ES"/>
              <a:t> to </a:t>
            </a:r>
            <a:r>
              <a:rPr lang="es-ES" altLang="es-ES" err="1"/>
              <a:t>edit</a:t>
            </a:r>
            <a:r>
              <a:rPr lang="es-ES" altLang="es-ES"/>
              <a:t> master </a:t>
            </a:r>
            <a:r>
              <a:rPr lang="es-ES" altLang="es-ES" err="1"/>
              <a:t>title</a:t>
            </a:r>
            <a:r>
              <a:rPr lang="es-ES" altLang="es-ES"/>
              <a:t> </a:t>
            </a:r>
            <a:r>
              <a:rPr lang="es-ES" altLang="es-ES" err="1"/>
              <a:t>style</a:t>
            </a:r>
            <a:endParaRPr lang="es-ES" altLang="es-ES"/>
          </a:p>
        </p:txBody>
      </p:sp>
      <p:sp>
        <p:nvSpPr>
          <p:cNvPr id="12" name="Marcador de texto 11"/>
          <p:cNvSpPr>
            <a:spLocks noGrp="1"/>
          </p:cNvSpPr>
          <p:nvPr>
            <p:ph type="body" sz="quarter" idx="10"/>
          </p:nvPr>
        </p:nvSpPr>
        <p:spPr>
          <a:xfrm>
            <a:off x="719666" y="1238258"/>
            <a:ext cx="10970987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400"/>
              </a:spcBef>
              <a:spcAft>
                <a:spcPts val="400"/>
              </a:spcAft>
              <a:buNone/>
              <a:defRPr sz="1600"/>
            </a:lvl1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15" name="Marcador de texto 14"/>
          <p:cNvSpPr>
            <a:spLocks noGrp="1"/>
          </p:cNvSpPr>
          <p:nvPr>
            <p:ph type="body" sz="quarter" idx="11"/>
          </p:nvPr>
        </p:nvSpPr>
        <p:spPr>
          <a:xfrm>
            <a:off x="720000" y="1828802"/>
            <a:ext cx="3996565" cy="7771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3030" indent="-173030">
              <a:spcBef>
                <a:spcPts val="400"/>
              </a:spcBef>
              <a:spcAft>
                <a:spcPts val="200"/>
              </a:spcAft>
              <a:defRPr sz="1600"/>
            </a:lvl1pPr>
            <a:lvl2pPr marL="358758" indent="-185730">
              <a:spcBef>
                <a:spcPts val="400"/>
              </a:spcBef>
              <a:spcAft>
                <a:spcPts val="200"/>
              </a:spcAft>
              <a:defRPr sz="1500"/>
            </a:lvl2pPr>
            <a:lvl3pPr marL="531787" indent="-173030">
              <a:spcBef>
                <a:spcPts val="400"/>
              </a:spcBef>
              <a:spcAft>
                <a:spcPts val="200"/>
              </a:spcAft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D7F18E4-6BC4-4E8E-9640-2FD2F43C5A88}"/>
              </a:ext>
            </a:extLst>
          </p:cNvPr>
          <p:cNvSpPr>
            <a:spLocks/>
          </p:cNvSpPr>
          <p:nvPr userDrawn="1"/>
        </p:nvSpPr>
        <p:spPr bwMode="auto">
          <a:xfrm>
            <a:off x="10661772" y="6495950"/>
            <a:ext cx="301365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" altLang="es-ES" sz="1333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" altLang="es-ES" sz="1333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5314DF8-0174-4EAC-89AD-A03FF1D58EB7}"/>
              </a:ext>
            </a:extLst>
          </p:cNvPr>
          <p:cNvCxnSpPr/>
          <p:nvPr userDrawn="1"/>
        </p:nvCxnSpPr>
        <p:spPr>
          <a:xfrm flipV="1">
            <a:off x="11034256" y="6471712"/>
            <a:ext cx="0" cy="25365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025EC25F-0593-48D8-82C8-726E54956C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85056" y="6464827"/>
            <a:ext cx="960000" cy="267429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B40B5140-E720-4428-9A16-55C58DE402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6291" y="140697"/>
            <a:ext cx="672000" cy="169529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51401B77-728B-499D-BA57-C9FE98D3ED3C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E6A631BF-1438-4C09-9E93-2AD3EA143346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6A6B3EF4-32DA-4CB3-8D8F-9B52C13D69E8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40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42858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672299"/>
              </p:ext>
            </p:extLst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36" imgH="336" progId="TCLayout.ActiveDocument.1">
                  <p:embed/>
                </p:oleObj>
              </mc:Choice>
              <mc:Fallback>
                <p:oleObj name="Diapositiva de think-cell" r:id="rId3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67" y="1707053"/>
            <a:ext cx="8160000" cy="18000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5189"/>
              </a:lnSpc>
              <a:spcBef>
                <a:spcPts val="9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4000" b="1" i="0" kern="1200" spc="-8" baseline="0" dirty="0" smtClean="0">
                <a:solidFill>
                  <a:schemeClr val="tx1"/>
                </a:solidFill>
                <a:latin typeface="+mj-lt"/>
                <a:ea typeface="Arial" charset="0"/>
                <a:cs typeface="Arial" charset="0"/>
                <a:sym typeface="Gill Sans" charset="0"/>
              </a:defRPr>
            </a:lvl1pPr>
            <a:lvl2pPr marL="800040" indent="-342874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257207" indent="-342874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0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D0ACA8D6-8CAE-46CE-BC2E-6BB578FFE156}"/>
              </a:ext>
            </a:extLst>
          </p:cNvPr>
          <p:cNvGrpSpPr/>
          <p:nvPr userDrawn="1"/>
        </p:nvGrpSpPr>
        <p:grpSpPr>
          <a:xfrm>
            <a:off x="536635" y="578458"/>
            <a:ext cx="2447296" cy="586143"/>
            <a:chOff x="12458870" y="3449329"/>
            <a:chExt cx="8093075" cy="1938338"/>
          </a:xfrm>
          <a:solidFill>
            <a:schemeClr val="tx2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05DC638-2DFF-45A1-8EBF-109DB35C4F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58870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0 w 366"/>
                <a:gd name="T5" fmla="*/ 111 h 365"/>
                <a:gd name="T6" fmla="*/ 334 w 366"/>
                <a:gd name="T7" fmla="*/ 80 h 365"/>
                <a:gd name="T8" fmla="*/ 312 w 366"/>
                <a:gd name="T9" fmla="*/ 54 h 365"/>
                <a:gd name="T10" fmla="*/ 284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2 w 366"/>
                <a:gd name="T17" fmla="*/ 0 h 365"/>
                <a:gd name="T18" fmla="*/ 164 w 366"/>
                <a:gd name="T19" fmla="*/ 2 h 365"/>
                <a:gd name="T20" fmla="*/ 128 w 366"/>
                <a:gd name="T21" fmla="*/ 8 h 365"/>
                <a:gd name="T22" fmla="*/ 96 w 366"/>
                <a:gd name="T23" fmla="*/ 22 h 365"/>
                <a:gd name="T24" fmla="*/ 66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0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4 w 366"/>
                <a:gd name="T39" fmla="*/ 253 h 365"/>
                <a:gd name="T40" fmla="*/ 30 w 366"/>
                <a:gd name="T41" fmla="*/ 285 h 365"/>
                <a:gd name="T42" fmla="*/ 54 w 366"/>
                <a:gd name="T43" fmla="*/ 311 h 365"/>
                <a:gd name="T44" fmla="*/ 80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2 w 366"/>
                <a:gd name="T51" fmla="*/ 365 h 365"/>
                <a:gd name="T52" fmla="*/ 202 w 366"/>
                <a:gd name="T53" fmla="*/ 363 h 365"/>
                <a:gd name="T54" fmla="*/ 236 w 366"/>
                <a:gd name="T55" fmla="*/ 357 h 365"/>
                <a:gd name="T56" fmla="*/ 270 w 366"/>
                <a:gd name="T57" fmla="*/ 343 h 365"/>
                <a:gd name="T58" fmla="*/ 298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4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4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0" y="111"/>
                  </a:lnTo>
                  <a:lnTo>
                    <a:pt x="344" y="96"/>
                  </a:lnTo>
                  <a:lnTo>
                    <a:pt x="334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298" y="42"/>
                  </a:lnTo>
                  <a:lnTo>
                    <a:pt x="284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6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6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4" y="333"/>
                  </a:lnTo>
                  <a:lnTo>
                    <a:pt x="298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4" y="285"/>
                  </a:lnTo>
                  <a:lnTo>
                    <a:pt x="344" y="269"/>
                  </a:lnTo>
                  <a:lnTo>
                    <a:pt x="350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4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EE65E9DA-A6E6-4018-A47C-E150945EC5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3449329"/>
              <a:ext cx="576263" cy="579438"/>
            </a:xfrm>
            <a:custGeom>
              <a:avLst/>
              <a:gdLst>
                <a:gd name="T0" fmla="*/ 363 w 363"/>
                <a:gd name="T1" fmla="*/ 183 h 365"/>
                <a:gd name="T2" fmla="*/ 361 w 363"/>
                <a:gd name="T3" fmla="*/ 145 h 365"/>
                <a:gd name="T4" fmla="*/ 349 w 363"/>
                <a:gd name="T5" fmla="*/ 111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2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3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5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51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9 h 365"/>
                <a:gd name="T62" fmla="*/ 341 w 363"/>
                <a:gd name="T63" fmla="*/ 269 h 365"/>
                <a:gd name="T64" fmla="*/ 355 w 363"/>
                <a:gd name="T65" fmla="*/ 237 h 365"/>
                <a:gd name="T66" fmla="*/ 363 w 363"/>
                <a:gd name="T67" fmla="*/ 201 h 365"/>
                <a:gd name="T68" fmla="*/ 363 w 363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3"/>
                  </a:moveTo>
                  <a:lnTo>
                    <a:pt x="363" y="183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1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51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9"/>
                  </a:lnTo>
                  <a:lnTo>
                    <a:pt x="333" y="285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7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3"/>
                  </a:lnTo>
                  <a:lnTo>
                    <a:pt x="363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E8EFACE2-B62B-417C-A842-5717A3841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19358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2 w 366"/>
                <a:gd name="T5" fmla="*/ 111 h 365"/>
                <a:gd name="T6" fmla="*/ 336 w 366"/>
                <a:gd name="T7" fmla="*/ 80 h 365"/>
                <a:gd name="T8" fmla="*/ 312 w 366"/>
                <a:gd name="T9" fmla="*/ 54 h 365"/>
                <a:gd name="T10" fmla="*/ 286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4 w 366"/>
                <a:gd name="T17" fmla="*/ 0 h 365"/>
                <a:gd name="T18" fmla="*/ 164 w 366"/>
                <a:gd name="T19" fmla="*/ 2 h 365"/>
                <a:gd name="T20" fmla="*/ 130 w 366"/>
                <a:gd name="T21" fmla="*/ 8 h 365"/>
                <a:gd name="T22" fmla="*/ 96 w 366"/>
                <a:gd name="T23" fmla="*/ 22 h 365"/>
                <a:gd name="T24" fmla="*/ 68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2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6 w 366"/>
                <a:gd name="T39" fmla="*/ 253 h 365"/>
                <a:gd name="T40" fmla="*/ 32 w 366"/>
                <a:gd name="T41" fmla="*/ 285 h 365"/>
                <a:gd name="T42" fmla="*/ 54 w 366"/>
                <a:gd name="T43" fmla="*/ 311 h 365"/>
                <a:gd name="T44" fmla="*/ 82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4 w 366"/>
                <a:gd name="T51" fmla="*/ 365 h 365"/>
                <a:gd name="T52" fmla="*/ 202 w 366"/>
                <a:gd name="T53" fmla="*/ 363 h 365"/>
                <a:gd name="T54" fmla="*/ 238 w 366"/>
                <a:gd name="T55" fmla="*/ 357 h 365"/>
                <a:gd name="T56" fmla="*/ 270 w 366"/>
                <a:gd name="T57" fmla="*/ 343 h 365"/>
                <a:gd name="T58" fmla="*/ 300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6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6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2" y="111"/>
                  </a:lnTo>
                  <a:lnTo>
                    <a:pt x="344" y="96"/>
                  </a:lnTo>
                  <a:lnTo>
                    <a:pt x="336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300" y="42"/>
                  </a:lnTo>
                  <a:lnTo>
                    <a:pt x="286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8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2" y="80"/>
                  </a:lnTo>
                  <a:lnTo>
                    <a:pt x="22" y="96"/>
                  </a:lnTo>
                  <a:lnTo>
                    <a:pt x="16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2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2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6" y="253"/>
                  </a:lnTo>
                  <a:lnTo>
                    <a:pt x="22" y="269"/>
                  </a:lnTo>
                  <a:lnTo>
                    <a:pt x="32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8" y="323"/>
                  </a:lnTo>
                  <a:lnTo>
                    <a:pt x="82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30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4" y="365"/>
                  </a:lnTo>
                  <a:lnTo>
                    <a:pt x="184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8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6" y="333"/>
                  </a:lnTo>
                  <a:lnTo>
                    <a:pt x="300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6" y="285"/>
                  </a:lnTo>
                  <a:lnTo>
                    <a:pt x="344" y="269"/>
                  </a:lnTo>
                  <a:lnTo>
                    <a:pt x="352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6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A074823-271C-4496-B916-5B7B52E80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130366"/>
              <a:ext cx="576263" cy="579438"/>
            </a:xfrm>
            <a:custGeom>
              <a:avLst/>
              <a:gdLst>
                <a:gd name="T0" fmla="*/ 363 w 363"/>
                <a:gd name="T1" fmla="*/ 181 h 365"/>
                <a:gd name="T2" fmla="*/ 361 w 363"/>
                <a:gd name="T3" fmla="*/ 145 h 365"/>
                <a:gd name="T4" fmla="*/ 349 w 363"/>
                <a:gd name="T5" fmla="*/ 112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0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1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3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49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7 h 365"/>
                <a:gd name="T62" fmla="*/ 341 w 363"/>
                <a:gd name="T63" fmla="*/ 269 h 365"/>
                <a:gd name="T64" fmla="*/ 355 w 363"/>
                <a:gd name="T65" fmla="*/ 235 h 365"/>
                <a:gd name="T66" fmla="*/ 363 w 363"/>
                <a:gd name="T67" fmla="*/ 201 h 365"/>
                <a:gd name="T68" fmla="*/ 363 w 363"/>
                <a:gd name="T69" fmla="*/ 181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2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2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49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49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D13EEB0F-B19D-4AE2-9BAA-3B38F5DE8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811404"/>
              <a:ext cx="576263" cy="576263"/>
            </a:xfrm>
            <a:custGeom>
              <a:avLst/>
              <a:gdLst>
                <a:gd name="T0" fmla="*/ 363 w 363"/>
                <a:gd name="T1" fmla="*/ 181 h 363"/>
                <a:gd name="T2" fmla="*/ 361 w 363"/>
                <a:gd name="T3" fmla="*/ 145 h 363"/>
                <a:gd name="T4" fmla="*/ 349 w 363"/>
                <a:gd name="T5" fmla="*/ 110 h 363"/>
                <a:gd name="T6" fmla="*/ 333 w 363"/>
                <a:gd name="T7" fmla="*/ 80 h 363"/>
                <a:gd name="T8" fmla="*/ 311 w 363"/>
                <a:gd name="T9" fmla="*/ 52 h 363"/>
                <a:gd name="T10" fmla="*/ 283 w 363"/>
                <a:gd name="T11" fmla="*/ 30 h 363"/>
                <a:gd name="T12" fmla="*/ 253 w 363"/>
                <a:gd name="T13" fmla="*/ 14 h 363"/>
                <a:gd name="T14" fmla="*/ 217 w 363"/>
                <a:gd name="T15" fmla="*/ 4 h 363"/>
                <a:gd name="T16" fmla="*/ 181 w 363"/>
                <a:gd name="T17" fmla="*/ 0 h 363"/>
                <a:gd name="T18" fmla="*/ 163 w 363"/>
                <a:gd name="T19" fmla="*/ 0 h 363"/>
                <a:gd name="T20" fmla="*/ 128 w 363"/>
                <a:gd name="T21" fmla="*/ 8 h 363"/>
                <a:gd name="T22" fmla="*/ 94 w 363"/>
                <a:gd name="T23" fmla="*/ 22 h 363"/>
                <a:gd name="T24" fmla="*/ 66 w 363"/>
                <a:gd name="T25" fmla="*/ 42 h 363"/>
                <a:gd name="T26" fmla="*/ 42 w 363"/>
                <a:gd name="T27" fmla="*/ 66 h 363"/>
                <a:gd name="T28" fmla="*/ 22 w 363"/>
                <a:gd name="T29" fmla="*/ 94 h 363"/>
                <a:gd name="T30" fmla="*/ 8 w 363"/>
                <a:gd name="T31" fmla="*/ 128 h 363"/>
                <a:gd name="T32" fmla="*/ 0 w 363"/>
                <a:gd name="T33" fmla="*/ 163 h 363"/>
                <a:gd name="T34" fmla="*/ 0 w 363"/>
                <a:gd name="T35" fmla="*/ 181 h 363"/>
                <a:gd name="T36" fmla="*/ 2 w 363"/>
                <a:gd name="T37" fmla="*/ 217 h 363"/>
                <a:gd name="T38" fmla="*/ 14 w 363"/>
                <a:gd name="T39" fmla="*/ 253 h 363"/>
                <a:gd name="T40" fmla="*/ 30 w 363"/>
                <a:gd name="T41" fmla="*/ 283 h 363"/>
                <a:gd name="T42" fmla="*/ 52 w 363"/>
                <a:gd name="T43" fmla="*/ 311 h 363"/>
                <a:gd name="T44" fmla="*/ 80 w 363"/>
                <a:gd name="T45" fmla="*/ 333 h 363"/>
                <a:gd name="T46" fmla="*/ 110 w 363"/>
                <a:gd name="T47" fmla="*/ 349 h 363"/>
                <a:gd name="T48" fmla="*/ 146 w 363"/>
                <a:gd name="T49" fmla="*/ 361 h 363"/>
                <a:gd name="T50" fmla="*/ 181 w 363"/>
                <a:gd name="T51" fmla="*/ 363 h 363"/>
                <a:gd name="T52" fmla="*/ 199 w 363"/>
                <a:gd name="T53" fmla="*/ 363 h 363"/>
                <a:gd name="T54" fmla="*/ 235 w 363"/>
                <a:gd name="T55" fmla="*/ 355 h 363"/>
                <a:gd name="T56" fmla="*/ 269 w 363"/>
                <a:gd name="T57" fmla="*/ 341 h 363"/>
                <a:gd name="T58" fmla="*/ 297 w 363"/>
                <a:gd name="T59" fmla="*/ 323 h 363"/>
                <a:gd name="T60" fmla="*/ 323 w 363"/>
                <a:gd name="T61" fmla="*/ 297 h 363"/>
                <a:gd name="T62" fmla="*/ 341 w 363"/>
                <a:gd name="T63" fmla="*/ 269 h 363"/>
                <a:gd name="T64" fmla="*/ 355 w 363"/>
                <a:gd name="T65" fmla="*/ 235 h 363"/>
                <a:gd name="T66" fmla="*/ 363 w 363"/>
                <a:gd name="T67" fmla="*/ 199 h 363"/>
                <a:gd name="T68" fmla="*/ 363 w 363"/>
                <a:gd name="T69" fmla="*/ 181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3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8"/>
                  </a:lnTo>
                  <a:lnTo>
                    <a:pt x="349" y="110"/>
                  </a:lnTo>
                  <a:lnTo>
                    <a:pt x="341" y="94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2"/>
                  </a:lnTo>
                  <a:lnTo>
                    <a:pt x="297" y="42"/>
                  </a:lnTo>
                  <a:lnTo>
                    <a:pt x="283" y="30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0"/>
                  </a:lnTo>
                  <a:lnTo>
                    <a:pt x="66" y="42"/>
                  </a:lnTo>
                  <a:lnTo>
                    <a:pt x="52" y="52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4"/>
                  </a:lnTo>
                  <a:lnTo>
                    <a:pt x="14" y="110"/>
                  </a:lnTo>
                  <a:lnTo>
                    <a:pt x="8" y="128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99"/>
                  </a:lnTo>
                  <a:lnTo>
                    <a:pt x="2" y="217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1"/>
                  </a:lnTo>
                  <a:lnTo>
                    <a:pt x="110" y="349"/>
                  </a:lnTo>
                  <a:lnTo>
                    <a:pt x="128" y="355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3"/>
                  </a:lnTo>
                  <a:lnTo>
                    <a:pt x="181" y="363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5"/>
                  </a:lnTo>
                  <a:lnTo>
                    <a:pt x="253" y="349"/>
                  </a:lnTo>
                  <a:lnTo>
                    <a:pt x="269" y="341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7"/>
                  </a:lnTo>
                  <a:lnTo>
                    <a:pt x="363" y="199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519CAB2-F180-4714-8C81-B21C13712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9633" y="4031941"/>
              <a:ext cx="706438" cy="900113"/>
            </a:xfrm>
            <a:custGeom>
              <a:avLst/>
              <a:gdLst>
                <a:gd name="T0" fmla="*/ 170 w 445"/>
                <a:gd name="T1" fmla="*/ 102 h 567"/>
                <a:gd name="T2" fmla="*/ 0 w 445"/>
                <a:gd name="T3" fmla="*/ 102 h 567"/>
                <a:gd name="T4" fmla="*/ 0 w 445"/>
                <a:gd name="T5" fmla="*/ 0 h 567"/>
                <a:gd name="T6" fmla="*/ 445 w 445"/>
                <a:gd name="T7" fmla="*/ 0 h 567"/>
                <a:gd name="T8" fmla="*/ 445 w 445"/>
                <a:gd name="T9" fmla="*/ 102 h 567"/>
                <a:gd name="T10" fmla="*/ 276 w 445"/>
                <a:gd name="T11" fmla="*/ 102 h 567"/>
                <a:gd name="T12" fmla="*/ 276 w 445"/>
                <a:gd name="T13" fmla="*/ 567 h 567"/>
                <a:gd name="T14" fmla="*/ 170 w 445"/>
                <a:gd name="T15" fmla="*/ 567 h 567"/>
                <a:gd name="T16" fmla="*/ 170 w 445"/>
                <a:gd name="T17" fmla="*/ 10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5" h="567">
                  <a:moveTo>
                    <a:pt x="170" y="102"/>
                  </a:moveTo>
                  <a:lnTo>
                    <a:pt x="0" y="102"/>
                  </a:lnTo>
                  <a:lnTo>
                    <a:pt x="0" y="0"/>
                  </a:lnTo>
                  <a:lnTo>
                    <a:pt x="445" y="0"/>
                  </a:lnTo>
                  <a:lnTo>
                    <a:pt x="445" y="102"/>
                  </a:lnTo>
                  <a:lnTo>
                    <a:pt x="276" y="102"/>
                  </a:lnTo>
                  <a:lnTo>
                    <a:pt x="276" y="567"/>
                  </a:lnTo>
                  <a:lnTo>
                    <a:pt x="170" y="567"/>
                  </a:lnTo>
                  <a:lnTo>
                    <a:pt x="17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F6BD923-AFF5-40FA-84A8-FF37B40A7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304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6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4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88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4 w 414"/>
                <a:gd name="T21" fmla="*/ 383 h 429"/>
                <a:gd name="T22" fmla="*/ 46 w 414"/>
                <a:gd name="T23" fmla="*/ 355 h 429"/>
                <a:gd name="T24" fmla="*/ 24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4 w 414"/>
                <a:gd name="T37" fmla="*/ 91 h 429"/>
                <a:gd name="T38" fmla="*/ 60 w 414"/>
                <a:gd name="T39" fmla="*/ 61 h 429"/>
                <a:gd name="T40" fmla="*/ 90 w 414"/>
                <a:gd name="T41" fmla="*/ 36 h 429"/>
                <a:gd name="T42" fmla="*/ 126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0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4 w 414"/>
                <a:gd name="T61" fmla="*/ 143 h 429"/>
                <a:gd name="T62" fmla="*/ 412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6 w 414"/>
                <a:gd name="T71" fmla="*/ 267 h 429"/>
                <a:gd name="T72" fmla="*/ 124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68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6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4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4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88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88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0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0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4" y="143"/>
                  </a:lnTo>
                  <a:lnTo>
                    <a:pt x="410" y="163"/>
                  </a:lnTo>
                  <a:lnTo>
                    <a:pt x="412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2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6" y="267"/>
                  </a:lnTo>
                  <a:lnTo>
                    <a:pt x="114" y="287"/>
                  </a:lnTo>
                  <a:lnTo>
                    <a:pt x="124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0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6" y="335"/>
                  </a:lnTo>
                  <a:lnTo>
                    <a:pt x="268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0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2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891F8F0C-7BD5-4F13-AD5A-11CDCAFD87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35520" y="4031941"/>
              <a:ext cx="161925" cy="900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11FDCAF1-DD33-4893-973E-5D0C4D6476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39269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8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6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90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6 w 414"/>
                <a:gd name="T21" fmla="*/ 383 h 429"/>
                <a:gd name="T22" fmla="*/ 48 w 414"/>
                <a:gd name="T23" fmla="*/ 355 h 429"/>
                <a:gd name="T24" fmla="*/ 26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6 w 414"/>
                <a:gd name="T37" fmla="*/ 91 h 429"/>
                <a:gd name="T38" fmla="*/ 60 w 414"/>
                <a:gd name="T39" fmla="*/ 61 h 429"/>
                <a:gd name="T40" fmla="*/ 92 w 414"/>
                <a:gd name="T41" fmla="*/ 36 h 429"/>
                <a:gd name="T42" fmla="*/ 128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2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6 w 414"/>
                <a:gd name="T61" fmla="*/ 143 h 429"/>
                <a:gd name="T62" fmla="*/ 414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8 w 414"/>
                <a:gd name="T71" fmla="*/ 267 h 429"/>
                <a:gd name="T72" fmla="*/ 126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70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8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6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2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2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6" y="143"/>
                  </a:lnTo>
                  <a:lnTo>
                    <a:pt x="410" y="163"/>
                  </a:lnTo>
                  <a:lnTo>
                    <a:pt x="414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4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8" y="267"/>
                  </a:lnTo>
                  <a:lnTo>
                    <a:pt x="114" y="287"/>
                  </a:lnTo>
                  <a:lnTo>
                    <a:pt x="126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2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8" y="335"/>
                  </a:lnTo>
                  <a:lnTo>
                    <a:pt x="270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2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4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930592A1-4F33-4F06-AFE1-9C0D395E4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8020" y="4019241"/>
              <a:ext cx="411163" cy="912813"/>
            </a:xfrm>
            <a:custGeom>
              <a:avLst/>
              <a:gdLst>
                <a:gd name="T0" fmla="*/ 69 w 259"/>
                <a:gd name="T1" fmla="*/ 259 h 575"/>
                <a:gd name="T2" fmla="*/ 0 w 259"/>
                <a:gd name="T3" fmla="*/ 259 h 575"/>
                <a:gd name="T4" fmla="*/ 0 w 259"/>
                <a:gd name="T5" fmla="*/ 162 h 575"/>
                <a:gd name="T6" fmla="*/ 69 w 259"/>
                <a:gd name="T7" fmla="*/ 162 h 575"/>
                <a:gd name="T8" fmla="*/ 69 w 259"/>
                <a:gd name="T9" fmla="*/ 102 h 575"/>
                <a:gd name="T10" fmla="*/ 69 w 259"/>
                <a:gd name="T11" fmla="*/ 102 h 575"/>
                <a:gd name="T12" fmla="*/ 71 w 259"/>
                <a:gd name="T13" fmla="*/ 80 h 575"/>
                <a:gd name="T14" fmla="*/ 75 w 259"/>
                <a:gd name="T15" fmla="*/ 60 h 575"/>
                <a:gd name="T16" fmla="*/ 85 w 259"/>
                <a:gd name="T17" fmla="*/ 42 h 575"/>
                <a:gd name="T18" fmla="*/ 97 w 259"/>
                <a:gd name="T19" fmla="*/ 28 h 575"/>
                <a:gd name="T20" fmla="*/ 111 w 259"/>
                <a:gd name="T21" fmla="*/ 16 h 575"/>
                <a:gd name="T22" fmla="*/ 129 w 259"/>
                <a:gd name="T23" fmla="*/ 8 h 575"/>
                <a:gd name="T24" fmla="*/ 147 w 259"/>
                <a:gd name="T25" fmla="*/ 2 h 575"/>
                <a:gd name="T26" fmla="*/ 169 w 259"/>
                <a:gd name="T27" fmla="*/ 0 h 575"/>
                <a:gd name="T28" fmla="*/ 259 w 259"/>
                <a:gd name="T29" fmla="*/ 0 h 575"/>
                <a:gd name="T30" fmla="*/ 259 w 259"/>
                <a:gd name="T31" fmla="*/ 90 h 575"/>
                <a:gd name="T32" fmla="*/ 199 w 259"/>
                <a:gd name="T33" fmla="*/ 90 h 575"/>
                <a:gd name="T34" fmla="*/ 199 w 259"/>
                <a:gd name="T35" fmla="*/ 90 h 575"/>
                <a:gd name="T36" fmla="*/ 187 w 259"/>
                <a:gd name="T37" fmla="*/ 92 h 575"/>
                <a:gd name="T38" fmla="*/ 179 w 259"/>
                <a:gd name="T39" fmla="*/ 98 h 575"/>
                <a:gd name="T40" fmla="*/ 173 w 259"/>
                <a:gd name="T41" fmla="*/ 106 h 575"/>
                <a:gd name="T42" fmla="*/ 169 w 259"/>
                <a:gd name="T43" fmla="*/ 118 h 575"/>
                <a:gd name="T44" fmla="*/ 169 w 259"/>
                <a:gd name="T45" fmla="*/ 162 h 575"/>
                <a:gd name="T46" fmla="*/ 259 w 259"/>
                <a:gd name="T47" fmla="*/ 162 h 575"/>
                <a:gd name="T48" fmla="*/ 259 w 259"/>
                <a:gd name="T49" fmla="*/ 259 h 575"/>
                <a:gd name="T50" fmla="*/ 169 w 259"/>
                <a:gd name="T51" fmla="*/ 259 h 575"/>
                <a:gd name="T52" fmla="*/ 169 w 259"/>
                <a:gd name="T53" fmla="*/ 575 h 575"/>
                <a:gd name="T54" fmla="*/ 69 w 259"/>
                <a:gd name="T55" fmla="*/ 575 h 575"/>
                <a:gd name="T56" fmla="*/ 69 w 259"/>
                <a:gd name="T57" fmla="*/ 25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9" h="575">
                  <a:moveTo>
                    <a:pt x="69" y="259"/>
                  </a:moveTo>
                  <a:lnTo>
                    <a:pt x="0" y="259"/>
                  </a:lnTo>
                  <a:lnTo>
                    <a:pt x="0" y="162"/>
                  </a:lnTo>
                  <a:lnTo>
                    <a:pt x="69" y="16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71" y="80"/>
                  </a:lnTo>
                  <a:lnTo>
                    <a:pt x="75" y="60"/>
                  </a:lnTo>
                  <a:lnTo>
                    <a:pt x="85" y="42"/>
                  </a:lnTo>
                  <a:lnTo>
                    <a:pt x="97" y="28"/>
                  </a:lnTo>
                  <a:lnTo>
                    <a:pt x="111" y="16"/>
                  </a:lnTo>
                  <a:lnTo>
                    <a:pt x="129" y="8"/>
                  </a:lnTo>
                  <a:lnTo>
                    <a:pt x="147" y="2"/>
                  </a:lnTo>
                  <a:lnTo>
                    <a:pt x="169" y="0"/>
                  </a:lnTo>
                  <a:lnTo>
                    <a:pt x="259" y="0"/>
                  </a:lnTo>
                  <a:lnTo>
                    <a:pt x="259" y="90"/>
                  </a:lnTo>
                  <a:lnTo>
                    <a:pt x="199" y="90"/>
                  </a:lnTo>
                  <a:lnTo>
                    <a:pt x="199" y="90"/>
                  </a:lnTo>
                  <a:lnTo>
                    <a:pt x="187" y="92"/>
                  </a:lnTo>
                  <a:lnTo>
                    <a:pt x="179" y="98"/>
                  </a:lnTo>
                  <a:lnTo>
                    <a:pt x="173" y="106"/>
                  </a:lnTo>
                  <a:lnTo>
                    <a:pt x="169" y="118"/>
                  </a:lnTo>
                  <a:lnTo>
                    <a:pt x="169" y="162"/>
                  </a:lnTo>
                  <a:lnTo>
                    <a:pt x="259" y="162"/>
                  </a:lnTo>
                  <a:lnTo>
                    <a:pt x="259" y="259"/>
                  </a:lnTo>
                  <a:lnTo>
                    <a:pt x="169" y="259"/>
                  </a:lnTo>
                  <a:lnTo>
                    <a:pt x="169" y="575"/>
                  </a:lnTo>
                  <a:lnTo>
                    <a:pt x="69" y="575"/>
                  </a:lnTo>
                  <a:lnTo>
                    <a:pt x="69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B52DFCE3-4C30-49DE-84F4-A0D36B6AC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524583" y="4263716"/>
              <a:ext cx="669925" cy="681038"/>
            </a:xfrm>
            <a:custGeom>
              <a:avLst/>
              <a:gdLst>
                <a:gd name="T0" fmla="*/ 422 w 422"/>
                <a:gd name="T1" fmla="*/ 215 h 429"/>
                <a:gd name="T2" fmla="*/ 418 w 422"/>
                <a:gd name="T3" fmla="*/ 261 h 429"/>
                <a:gd name="T4" fmla="*/ 406 w 422"/>
                <a:gd name="T5" fmla="*/ 301 h 429"/>
                <a:gd name="T6" fmla="*/ 386 w 422"/>
                <a:gd name="T7" fmla="*/ 337 h 429"/>
                <a:gd name="T8" fmla="*/ 362 w 422"/>
                <a:gd name="T9" fmla="*/ 369 h 429"/>
                <a:gd name="T10" fmla="*/ 330 w 422"/>
                <a:gd name="T11" fmla="*/ 395 h 429"/>
                <a:gd name="T12" fmla="*/ 294 w 422"/>
                <a:gd name="T13" fmla="*/ 413 h 429"/>
                <a:gd name="T14" fmla="*/ 254 w 422"/>
                <a:gd name="T15" fmla="*/ 425 h 429"/>
                <a:gd name="T16" fmla="*/ 210 w 422"/>
                <a:gd name="T17" fmla="*/ 429 h 429"/>
                <a:gd name="T18" fmla="*/ 188 w 422"/>
                <a:gd name="T19" fmla="*/ 429 h 429"/>
                <a:gd name="T20" fmla="*/ 146 w 422"/>
                <a:gd name="T21" fmla="*/ 421 h 429"/>
                <a:gd name="T22" fmla="*/ 108 w 422"/>
                <a:gd name="T23" fmla="*/ 405 h 429"/>
                <a:gd name="T24" fmla="*/ 74 w 422"/>
                <a:gd name="T25" fmla="*/ 383 h 429"/>
                <a:gd name="T26" fmla="*/ 46 w 422"/>
                <a:gd name="T27" fmla="*/ 355 h 429"/>
                <a:gd name="T28" fmla="*/ 24 w 422"/>
                <a:gd name="T29" fmla="*/ 321 h 429"/>
                <a:gd name="T30" fmla="*/ 8 w 422"/>
                <a:gd name="T31" fmla="*/ 281 h 429"/>
                <a:gd name="T32" fmla="*/ 0 w 422"/>
                <a:gd name="T33" fmla="*/ 237 h 429"/>
                <a:gd name="T34" fmla="*/ 0 w 422"/>
                <a:gd name="T35" fmla="*/ 215 h 429"/>
                <a:gd name="T36" fmla="*/ 4 w 422"/>
                <a:gd name="T37" fmla="*/ 169 h 429"/>
                <a:gd name="T38" fmla="*/ 16 w 422"/>
                <a:gd name="T39" fmla="*/ 129 h 429"/>
                <a:gd name="T40" fmla="*/ 34 w 422"/>
                <a:gd name="T41" fmla="*/ 91 h 429"/>
                <a:gd name="T42" fmla="*/ 60 w 422"/>
                <a:gd name="T43" fmla="*/ 61 h 429"/>
                <a:gd name="T44" fmla="*/ 90 w 422"/>
                <a:gd name="T45" fmla="*/ 36 h 429"/>
                <a:gd name="T46" fmla="*/ 126 w 422"/>
                <a:gd name="T47" fmla="*/ 16 h 429"/>
                <a:gd name="T48" fmla="*/ 166 w 422"/>
                <a:gd name="T49" fmla="*/ 4 h 429"/>
                <a:gd name="T50" fmla="*/ 210 w 422"/>
                <a:gd name="T51" fmla="*/ 0 h 429"/>
                <a:gd name="T52" fmla="*/ 232 w 422"/>
                <a:gd name="T53" fmla="*/ 2 h 429"/>
                <a:gd name="T54" fmla="*/ 274 w 422"/>
                <a:gd name="T55" fmla="*/ 10 h 429"/>
                <a:gd name="T56" fmla="*/ 314 w 422"/>
                <a:gd name="T57" fmla="*/ 26 h 429"/>
                <a:gd name="T58" fmla="*/ 346 w 422"/>
                <a:gd name="T59" fmla="*/ 47 h 429"/>
                <a:gd name="T60" fmla="*/ 374 w 422"/>
                <a:gd name="T61" fmla="*/ 75 h 429"/>
                <a:gd name="T62" fmla="*/ 396 w 422"/>
                <a:gd name="T63" fmla="*/ 109 h 429"/>
                <a:gd name="T64" fmla="*/ 412 w 422"/>
                <a:gd name="T65" fmla="*/ 149 h 429"/>
                <a:gd name="T66" fmla="*/ 420 w 422"/>
                <a:gd name="T67" fmla="*/ 191 h 429"/>
                <a:gd name="T68" fmla="*/ 422 w 422"/>
                <a:gd name="T69" fmla="*/ 215 h 429"/>
                <a:gd name="T70" fmla="*/ 320 w 422"/>
                <a:gd name="T71" fmla="*/ 215 h 429"/>
                <a:gd name="T72" fmla="*/ 312 w 422"/>
                <a:gd name="T73" fmla="*/ 165 h 429"/>
                <a:gd name="T74" fmla="*/ 288 w 422"/>
                <a:gd name="T75" fmla="*/ 127 h 429"/>
                <a:gd name="T76" fmla="*/ 252 w 422"/>
                <a:gd name="T77" fmla="*/ 101 h 429"/>
                <a:gd name="T78" fmla="*/ 210 w 422"/>
                <a:gd name="T79" fmla="*/ 93 h 429"/>
                <a:gd name="T80" fmla="*/ 188 w 422"/>
                <a:gd name="T81" fmla="*/ 95 h 429"/>
                <a:gd name="T82" fmla="*/ 148 w 422"/>
                <a:gd name="T83" fmla="*/ 113 h 429"/>
                <a:gd name="T84" fmla="*/ 120 w 422"/>
                <a:gd name="T85" fmla="*/ 145 h 429"/>
                <a:gd name="T86" fmla="*/ 102 w 422"/>
                <a:gd name="T87" fmla="*/ 189 h 429"/>
                <a:gd name="T88" fmla="*/ 100 w 422"/>
                <a:gd name="T89" fmla="*/ 215 h 429"/>
                <a:gd name="T90" fmla="*/ 110 w 422"/>
                <a:gd name="T91" fmla="*/ 265 h 429"/>
                <a:gd name="T92" fmla="*/ 132 w 422"/>
                <a:gd name="T93" fmla="*/ 303 h 429"/>
                <a:gd name="T94" fmla="*/ 168 w 422"/>
                <a:gd name="T95" fmla="*/ 327 h 429"/>
                <a:gd name="T96" fmla="*/ 210 w 422"/>
                <a:gd name="T97" fmla="*/ 337 h 429"/>
                <a:gd name="T98" fmla="*/ 232 w 422"/>
                <a:gd name="T99" fmla="*/ 335 h 429"/>
                <a:gd name="T100" fmla="*/ 272 w 422"/>
                <a:gd name="T101" fmla="*/ 317 h 429"/>
                <a:gd name="T102" fmla="*/ 302 w 422"/>
                <a:gd name="T103" fmla="*/ 285 h 429"/>
                <a:gd name="T104" fmla="*/ 318 w 422"/>
                <a:gd name="T105" fmla="*/ 241 h 429"/>
                <a:gd name="T106" fmla="*/ 320 w 422"/>
                <a:gd name="T107" fmla="*/ 21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2" h="429">
                  <a:moveTo>
                    <a:pt x="422" y="215"/>
                  </a:moveTo>
                  <a:lnTo>
                    <a:pt x="422" y="215"/>
                  </a:lnTo>
                  <a:lnTo>
                    <a:pt x="420" y="237"/>
                  </a:lnTo>
                  <a:lnTo>
                    <a:pt x="418" y="261"/>
                  </a:lnTo>
                  <a:lnTo>
                    <a:pt x="412" y="281"/>
                  </a:lnTo>
                  <a:lnTo>
                    <a:pt x="406" y="301"/>
                  </a:lnTo>
                  <a:lnTo>
                    <a:pt x="396" y="321"/>
                  </a:lnTo>
                  <a:lnTo>
                    <a:pt x="386" y="337"/>
                  </a:lnTo>
                  <a:lnTo>
                    <a:pt x="374" y="355"/>
                  </a:lnTo>
                  <a:lnTo>
                    <a:pt x="362" y="369"/>
                  </a:lnTo>
                  <a:lnTo>
                    <a:pt x="346" y="383"/>
                  </a:lnTo>
                  <a:lnTo>
                    <a:pt x="330" y="395"/>
                  </a:lnTo>
                  <a:lnTo>
                    <a:pt x="314" y="405"/>
                  </a:lnTo>
                  <a:lnTo>
                    <a:pt x="294" y="413"/>
                  </a:lnTo>
                  <a:lnTo>
                    <a:pt x="274" y="421"/>
                  </a:lnTo>
                  <a:lnTo>
                    <a:pt x="254" y="425"/>
                  </a:lnTo>
                  <a:lnTo>
                    <a:pt x="232" y="429"/>
                  </a:lnTo>
                  <a:lnTo>
                    <a:pt x="210" y="429"/>
                  </a:lnTo>
                  <a:lnTo>
                    <a:pt x="210" y="429"/>
                  </a:lnTo>
                  <a:lnTo>
                    <a:pt x="188" y="429"/>
                  </a:lnTo>
                  <a:lnTo>
                    <a:pt x="166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8" y="281"/>
                  </a:lnTo>
                  <a:lnTo>
                    <a:pt x="4" y="261"/>
                  </a:lnTo>
                  <a:lnTo>
                    <a:pt x="0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191"/>
                  </a:lnTo>
                  <a:lnTo>
                    <a:pt x="4" y="169"/>
                  </a:lnTo>
                  <a:lnTo>
                    <a:pt x="8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6" y="4"/>
                  </a:lnTo>
                  <a:lnTo>
                    <a:pt x="188" y="2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2"/>
                  </a:lnTo>
                  <a:lnTo>
                    <a:pt x="254" y="4"/>
                  </a:lnTo>
                  <a:lnTo>
                    <a:pt x="274" y="10"/>
                  </a:lnTo>
                  <a:lnTo>
                    <a:pt x="294" y="16"/>
                  </a:lnTo>
                  <a:lnTo>
                    <a:pt x="314" y="26"/>
                  </a:lnTo>
                  <a:lnTo>
                    <a:pt x="330" y="36"/>
                  </a:lnTo>
                  <a:lnTo>
                    <a:pt x="346" y="47"/>
                  </a:lnTo>
                  <a:lnTo>
                    <a:pt x="362" y="61"/>
                  </a:lnTo>
                  <a:lnTo>
                    <a:pt x="374" y="75"/>
                  </a:lnTo>
                  <a:lnTo>
                    <a:pt x="386" y="91"/>
                  </a:lnTo>
                  <a:lnTo>
                    <a:pt x="396" y="109"/>
                  </a:lnTo>
                  <a:lnTo>
                    <a:pt x="406" y="129"/>
                  </a:lnTo>
                  <a:lnTo>
                    <a:pt x="412" y="149"/>
                  </a:lnTo>
                  <a:lnTo>
                    <a:pt x="418" y="169"/>
                  </a:lnTo>
                  <a:lnTo>
                    <a:pt x="420" y="191"/>
                  </a:lnTo>
                  <a:lnTo>
                    <a:pt x="422" y="215"/>
                  </a:lnTo>
                  <a:lnTo>
                    <a:pt x="422" y="215"/>
                  </a:lnTo>
                  <a:close/>
                  <a:moveTo>
                    <a:pt x="320" y="215"/>
                  </a:moveTo>
                  <a:lnTo>
                    <a:pt x="320" y="215"/>
                  </a:lnTo>
                  <a:lnTo>
                    <a:pt x="318" y="189"/>
                  </a:lnTo>
                  <a:lnTo>
                    <a:pt x="312" y="165"/>
                  </a:lnTo>
                  <a:lnTo>
                    <a:pt x="302" y="145"/>
                  </a:lnTo>
                  <a:lnTo>
                    <a:pt x="288" y="127"/>
                  </a:lnTo>
                  <a:lnTo>
                    <a:pt x="272" y="113"/>
                  </a:lnTo>
                  <a:lnTo>
                    <a:pt x="252" y="101"/>
                  </a:lnTo>
                  <a:lnTo>
                    <a:pt x="232" y="95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188" y="95"/>
                  </a:lnTo>
                  <a:lnTo>
                    <a:pt x="168" y="101"/>
                  </a:lnTo>
                  <a:lnTo>
                    <a:pt x="148" y="113"/>
                  </a:lnTo>
                  <a:lnTo>
                    <a:pt x="132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2" y="189"/>
                  </a:lnTo>
                  <a:lnTo>
                    <a:pt x="100" y="215"/>
                  </a:lnTo>
                  <a:lnTo>
                    <a:pt x="100" y="215"/>
                  </a:lnTo>
                  <a:lnTo>
                    <a:pt x="102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2" y="303"/>
                  </a:lnTo>
                  <a:lnTo>
                    <a:pt x="148" y="317"/>
                  </a:lnTo>
                  <a:lnTo>
                    <a:pt x="168" y="327"/>
                  </a:lnTo>
                  <a:lnTo>
                    <a:pt x="188" y="335"/>
                  </a:lnTo>
                  <a:lnTo>
                    <a:pt x="210" y="337"/>
                  </a:lnTo>
                  <a:lnTo>
                    <a:pt x="210" y="337"/>
                  </a:lnTo>
                  <a:lnTo>
                    <a:pt x="232" y="335"/>
                  </a:lnTo>
                  <a:lnTo>
                    <a:pt x="252" y="327"/>
                  </a:lnTo>
                  <a:lnTo>
                    <a:pt x="272" y="317"/>
                  </a:lnTo>
                  <a:lnTo>
                    <a:pt x="288" y="303"/>
                  </a:lnTo>
                  <a:lnTo>
                    <a:pt x="302" y="285"/>
                  </a:lnTo>
                  <a:lnTo>
                    <a:pt x="312" y="265"/>
                  </a:lnTo>
                  <a:lnTo>
                    <a:pt x="318" y="241"/>
                  </a:lnTo>
                  <a:lnTo>
                    <a:pt x="320" y="215"/>
                  </a:lnTo>
                  <a:lnTo>
                    <a:pt x="320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65BFD84D-36E7-4982-B166-BCA7952FF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9758" y="4263716"/>
              <a:ext cx="606425" cy="668338"/>
            </a:xfrm>
            <a:custGeom>
              <a:avLst/>
              <a:gdLst>
                <a:gd name="T0" fmla="*/ 0 w 382"/>
                <a:gd name="T1" fmla="*/ 8 h 421"/>
                <a:gd name="T2" fmla="*/ 94 w 382"/>
                <a:gd name="T3" fmla="*/ 8 h 421"/>
                <a:gd name="T4" fmla="*/ 102 w 382"/>
                <a:gd name="T5" fmla="*/ 49 h 421"/>
                <a:gd name="T6" fmla="*/ 106 w 382"/>
                <a:gd name="T7" fmla="*/ 49 h 421"/>
                <a:gd name="T8" fmla="*/ 106 w 382"/>
                <a:gd name="T9" fmla="*/ 49 h 421"/>
                <a:gd name="T10" fmla="*/ 118 w 382"/>
                <a:gd name="T11" fmla="*/ 36 h 421"/>
                <a:gd name="T12" fmla="*/ 132 w 382"/>
                <a:gd name="T13" fmla="*/ 26 h 421"/>
                <a:gd name="T14" fmla="*/ 132 w 382"/>
                <a:gd name="T15" fmla="*/ 26 h 421"/>
                <a:gd name="T16" fmla="*/ 148 w 382"/>
                <a:gd name="T17" fmla="*/ 16 h 421"/>
                <a:gd name="T18" fmla="*/ 168 w 382"/>
                <a:gd name="T19" fmla="*/ 8 h 421"/>
                <a:gd name="T20" fmla="*/ 192 w 382"/>
                <a:gd name="T21" fmla="*/ 2 h 421"/>
                <a:gd name="T22" fmla="*/ 218 w 382"/>
                <a:gd name="T23" fmla="*/ 0 h 421"/>
                <a:gd name="T24" fmla="*/ 218 w 382"/>
                <a:gd name="T25" fmla="*/ 0 h 421"/>
                <a:gd name="T26" fmla="*/ 236 w 382"/>
                <a:gd name="T27" fmla="*/ 2 h 421"/>
                <a:gd name="T28" fmla="*/ 252 w 382"/>
                <a:gd name="T29" fmla="*/ 4 h 421"/>
                <a:gd name="T30" fmla="*/ 268 w 382"/>
                <a:gd name="T31" fmla="*/ 8 h 421"/>
                <a:gd name="T32" fmla="*/ 284 w 382"/>
                <a:gd name="T33" fmla="*/ 14 h 421"/>
                <a:gd name="T34" fmla="*/ 298 w 382"/>
                <a:gd name="T35" fmla="*/ 20 h 421"/>
                <a:gd name="T36" fmla="*/ 312 w 382"/>
                <a:gd name="T37" fmla="*/ 28 h 421"/>
                <a:gd name="T38" fmla="*/ 324 w 382"/>
                <a:gd name="T39" fmla="*/ 38 h 421"/>
                <a:gd name="T40" fmla="*/ 334 w 382"/>
                <a:gd name="T41" fmla="*/ 47 h 421"/>
                <a:gd name="T42" fmla="*/ 346 w 382"/>
                <a:gd name="T43" fmla="*/ 59 h 421"/>
                <a:gd name="T44" fmla="*/ 354 w 382"/>
                <a:gd name="T45" fmla="*/ 73 h 421"/>
                <a:gd name="T46" fmla="*/ 362 w 382"/>
                <a:gd name="T47" fmla="*/ 87 h 421"/>
                <a:gd name="T48" fmla="*/ 368 w 382"/>
                <a:gd name="T49" fmla="*/ 103 h 421"/>
                <a:gd name="T50" fmla="*/ 374 w 382"/>
                <a:gd name="T51" fmla="*/ 119 h 421"/>
                <a:gd name="T52" fmla="*/ 378 w 382"/>
                <a:gd name="T53" fmla="*/ 137 h 421"/>
                <a:gd name="T54" fmla="*/ 380 w 382"/>
                <a:gd name="T55" fmla="*/ 155 h 421"/>
                <a:gd name="T56" fmla="*/ 382 w 382"/>
                <a:gd name="T57" fmla="*/ 175 h 421"/>
                <a:gd name="T58" fmla="*/ 382 w 382"/>
                <a:gd name="T59" fmla="*/ 421 h 421"/>
                <a:gd name="T60" fmla="*/ 280 w 382"/>
                <a:gd name="T61" fmla="*/ 421 h 421"/>
                <a:gd name="T62" fmla="*/ 280 w 382"/>
                <a:gd name="T63" fmla="*/ 183 h 421"/>
                <a:gd name="T64" fmla="*/ 280 w 382"/>
                <a:gd name="T65" fmla="*/ 183 h 421"/>
                <a:gd name="T66" fmla="*/ 278 w 382"/>
                <a:gd name="T67" fmla="*/ 163 h 421"/>
                <a:gd name="T68" fmla="*/ 274 w 382"/>
                <a:gd name="T69" fmla="*/ 147 h 421"/>
                <a:gd name="T70" fmla="*/ 266 w 382"/>
                <a:gd name="T71" fmla="*/ 131 h 421"/>
                <a:gd name="T72" fmla="*/ 254 w 382"/>
                <a:gd name="T73" fmla="*/ 117 h 421"/>
                <a:gd name="T74" fmla="*/ 242 w 382"/>
                <a:gd name="T75" fmla="*/ 107 h 421"/>
                <a:gd name="T76" fmla="*/ 226 w 382"/>
                <a:gd name="T77" fmla="*/ 99 h 421"/>
                <a:gd name="T78" fmla="*/ 210 w 382"/>
                <a:gd name="T79" fmla="*/ 95 h 421"/>
                <a:gd name="T80" fmla="*/ 190 w 382"/>
                <a:gd name="T81" fmla="*/ 93 h 421"/>
                <a:gd name="T82" fmla="*/ 190 w 382"/>
                <a:gd name="T83" fmla="*/ 93 h 421"/>
                <a:gd name="T84" fmla="*/ 172 w 382"/>
                <a:gd name="T85" fmla="*/ 95 h 421"/>
                <a:gd name="T86" fmla="*/ 154 w 382"/>
                <a:gd name="T87" fmla="*/ 99 h 421"/>
                <a:gd name="T88" fmla="*/ 140 w 382"/>
                <a:gd name="T89" fmla="*/ 107 h 421"/>
                <a:gd name="T90" fmla="*/ 126 w 382"/>
                <a:gd name="T91" fmla="*/ 117 h 421"/>
                <a:gd name="T92" fmla="*/ 116 w 382"/>
                <a:gd name="T93" fmla="*/ 131 h 421"/>
                <a:gd name="T94" fmla="*/ 108 w 382"/>
                <a:gd name="T95" fmla="*/ 147 h 421"/>
                <a:gd name="T96" fmla="*/ 102 w 382"/>
                <a:gd name="T97" fmla="*/ 163 h 421"/>
                <a:gd name="T98" fmla="*/ 102 w 382"/>
                <a:gd name="T99" fmla="*/ 183 h 421"/>
                <a:gd name="T100" fmla="*/ 102 w 382"/>
                <a:gd name="T101" fmla="*/ 421 h 421"/>
                <a:gd name="T102" fmla="*/ 0 w 382"/>
                <a:gd name="T103" fmla="*/ 421 h 421"/>
                <a:gd name="T104" fmla="*/ 0 w 382"/>
                <a:gd name="T105" fmla="*/ 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421">
                  <a:moveTo>
                    <a:pt x="0" y="8"/>
                  </a:moveTo>
                  <a:lnTo>
                    <a:pt x="94" y="8"/>
                  </a:lnTo>
                  <a:lnTo>
                    <a:pt x="102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18" y="3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48" y="16"/>
                  </a:lnTo>
                  <a:lnTo>
                    <a:pt x="168" y="8"/>
                  </a:lnTo>
                  <a:lnTo>
                    <a:pt x="192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36" y="2"/>
                  </a:lnTo>
                  <a:lnTo>
                    <a:pt x="252" y="4"/>
                  </a:lnTo>
                  <a:lnTo>
                    <a:pt x="268" y="8"/>
                  </a:lnTo>
                  <a:lnTo>
                    <a:pt x="284" y="14"/>
                  </a:lnTo>
                  <a:lnTo>
                    <a:pt x="298" y="20"/>
                  </a:lnTo>
                  <a:lnTo>
                    <a:pt x="312" y="28"/>
                  </a:lnTo>
                  <a:lnTo>
                    <a:pt x="324" y="38"/>
                  </a:lnTo>
                  <a:lnTo>
                    <a:pt x="334" y="47"/>
                  </a:lnTo>
                  <a:lnTo>
                    <a:pt x="346" y="59"/>
                  </a:lnTo>
                  <a:lnTo>
                    <a:pt x="354" y="73"/>
                  </a:lnTo>
                  <a:lnTo>
                    <a:pt x="362" y="87"/>
                  </a:lnTo>
                  <a:lnTo>
                    <a:pt x="368" y="103"/>
                  </a:lnTo>
                  <a:lnTo>
                    <a:pt x="374" y="119"/>
                  </a:lnTo>
                  <a:lnTo>
                    <a:pt x="378" y="137"/>
                  </a:lnTo>
                  <a:lnTo>
                    <a:pt x="380" y="155"/>
                  </a:lnTo>
                  <a:lnTo>
                    <a:pt x="382" y="175"/>
                  </a:lnTo>
                  <a:lnTo>
                    <a:pt x="382" y="421"/>
                  </a:lnTo>
                  <a:lnTo>
                    <a:pt x="280" y="421"/>
                  </a:lnTo>
                  <a:lnTo>
                    <a:pt x="280" y="183"/>
                  </a:lnTo>
                  <a:lnTo>
                    <a:pt x="280" y="183"/>
                  </a:lnTo>
                  <a:lnTo>
                    <a:pt x="278" y="163"/>
                  </a:lnTo>
                  <a:lnTo>
                    <a:pt x="274" y="147"/>
                  </a:lnTo>
                  <a:lnTo>
                    <a:pt x="266" y="131"/>
                  </a:lnTo>
                  <a:lnTo>
                    <a:pt x="254" y="117"/>
                  </a:lnTo>
                  <a:lnTo>
                    <a:pt x="242" y="107"/>
                  </a:lnTo>
                  <a:lnTo>
                    <a:pt x="226" y="99"/>
                  </a:lnTo>
                  <a:lnTo>
                    <a:pt x="210" y="95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72" y="95"/>
                  </a:lnTo>
                  <a:lnTo>
                    <a:pt x="154" y="99"/>
                  </a:lnTo>
                  <a:lnTo>
                    <a:pt x="140" y="107"/>
                  </a:lnTo>
                  <a:lnTo>
                    <a:pt x="126" y="117"/>
                  </a:lnTo>
                  <a:lnTo>
                    <a:pt x="116" y="131"/>
                  </a:lnTo>
                  <a:lnTo>
                    <a:pt x="108" y="147"/>
                  </a:lnTo>
                  <a:lnTo>
                    <a:pt x="102" y="163"/>
                  </a:lnTo>
                  <a:lnTo>
                    <a:pt x="102" y="183"/>
                  </a:lnTo>
                  <a:lnTo>
                    <a:pt x="102" y="421"/>
                  </a:lnTo>
                  <a:lnTo>
                    <a:pt x="0" y="421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7A1D4C88-CA84-4B58-97AE-679D77E48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72420" y="4263716"/>
              <a:ext cx="644525" cy="681038"/>
            </a:xfrm>
            <a:custGeom>
              <a:avLst/>
              <a:gdLst>
                <a:gd name="T0" fmla="*/ 406 w 406"/>
                <a:gd name="T1" fmla="*/ 267 h 429"/>
                <a:gd name="T2" fmla="*/ 388 w 406"/>
                <a:gd name="T3" fmla="*/ 321 h 429"/>
                <a:gd name="T4" fmla="*/ 364 w 406"/>
                <a:gd name="T5" fmla="*/ 361 h 429"/>
                <a:gd name="T6" fmla="*/ 340 w 406"/>
                <a:gd name="T7" fmla="*/ 385 h 429"/>
                <a:gd name="T8" fmla="*/ 312 w 406"/>
                <a:gd name="T9" fmla="*/ 405 h 429"/>
                <a:gd name="T10" fmla="*/ 278 w 406"/>
                <a:gd name="T11" fmla="*/ 421 h 429"/>
                <a:gd name="T12" fmla="*/ 236 w 406"/>
                <a:gd name="T13" fmla="*/ 429 h 429"/>
                <a:gd name="T14" fmla="*/ 212 w 406"/>
                <a:gd name="T15" fmla="*/ 429 h 429"/>
                <a:gd name="T16" fmla="*/ 168 w 406"/>
                <a:gd name="T17" fmla="*/ 425 h 429"/>
                <a:gd name="T18" fmla="*/ 128 w 406"/>
                <a:gd name="T19" fmla="*/ 413 h 429"/>
                <a:gd name="T20" fmla="*/ 92 w 406"/>
                <a:gd name="T21" fmla="*/ 395 h 429"/>
                <a:gd name="T22" fmla="*/ 60 w 406"/>
                <a:gd name="T23" fmla="*/ 369 h 429"/>
                <a:gd name="T24" fmla="*/ 36 w 406"/>
                <a:gd name="T25" fmla="*/ 337 h 429"/>
                <a:gd name="T26" fmla="*/ 16 w 406"/>
                <a:gd name="T27" fmla="*/ 301 h 429"/>
                <a:gd name="T28" fmla="*/ 4 w 406"/>
                <a:gd name="T29" fmla="*/ 261 h 429"/>
                <a:gd name="T30" fmla="*/ 0 w 406"/>
                <a:gd name="T31" fmla="*/ 215 h 429"/>
                <a:gd name="T32" fmla="*/ 2 w 406"/>
                <a:gd name="T33" fmla="*/ 191 h 429"/>
                <a:gd name="T34" fmla="*/ 10 w 406"/>
                <a:gd name="T35" fmla="*/ 149 h 429"/>
                <a:gd name="T36" fmla="*/ 26 w 406"/>
                <a:gd name="T37" fmla="*/ 109 h 429"/>
                <a:gd name="T38" fmla="*/ 48 w 406"/>
                <a:gd name="T39" fmla="*/ 75 h 429"/>
                <a:gd name="T40" fmla="*/ 76 w 406"/>
                <a:gd name="T41" fmla="*/ 47 h 429"/>
                <a:gd name="T42" fmla="*/ 108 w 406"/>
                <a:gd name="T43" fmla="*/ 26 h 429"/>
                <a:gd name="T44" fmla="*/ 148 w 406"/>
                <a:gd name="T45" fmla="*/ 10 h 429"/>
                <a:gd name="T46" fmla="*/ 190 w 406"/>
                <a:gd name="T47" fmla="*/ 2 h 429"/>
                <a:gd name="T48" fmla="*/ 212 w 406"/>
                <a:gd name="T49" fmla="*/ 0 h 429"/>
                <a:gd name="T50" fmla="*/ 258 w 406"/>
                <a:gd name="T51" fmla="*/ 6 h 429"/>
                <a:gd name="T52" fmla="*/ 296 w 406"/>
                <a:gd name="T53" fmla="*/ 16 h 429"/>
                <a:gd name="T54" fmla="*/ 328 w 406"/>
                <a:gd name="T55" fmla="*/ 34 h 429"/>
                <a:gd name="T56" fmla="*/ 354 w 406"/>
                <a:gd name="T57" fmla="*/ 57 h 429"/>
                <a:gd name="T58" fmla="*/ 374 w 406"/>
                <a:gd name="T59" fmla="*/ 81 h 429"/>
                <a:gd name="T60" fmla="*/ 400 w 406"/>
                <a:gd name="T61" fmla="*/ 133 h 429"/>
                <a:gd name="T62" fmla="*/ 304 w 406"/>
                <a:gd name="T63" fmla="*/ 157 h 429"/>
                <a:gd name="T64" fmla="*/ 300 w 406"/>
                <a:gd name="T65" fmla="*/ 149 h 429"/>
                <a:gd name="T66" fmla="*/ 288 w 406"/>
                <a:gd name="T67" fmla="*/ 127 h 429"/>
                <a:gd name="T68" fmla="*/ 266 w 406"/>
                <a:gd name="T69" fmla="*/ 107 h 429"/>
                <a:gd name="T70" fmla="*/ 232 w 406"/>
                <a:gd name="T71" fmla="*/ 95 h 429"/>
                <a:gd name="T72" fmla="*/ 212 w 406"/>
                <a:gd name="T73" fmla="*/ 93 h 429"/>
                <a:gd name="T74" fmla="*/ 168 w 406"/>
                <a:gd name="T75" fmla="*/ 101 h 429"/>
                <a:gd name="T76" fmla="*/ 134 w 406"/>
                <a:gd name="T77" fmla="*/ 127 h 429"/>
                <a:gd name="T78" fmla="*/ 110 w 406"/>
                <a:gd name="T79" fmla="*/ 165 h 429"/>
                <a:gd name="T80" fmla="*/ 102 w 406"/>
                <a:gd name="T81" fmla="*/ 215 h 429"/>
                <a:gd name="T82" fmla="*/ 104 w 406"/>
                <a:gd name="T83" fmla="*/ 241 h 429"/>
                <a:gd name="T84" fmla="*/ 120 w 406"/>
                <a:gd name="T85" fmla="*/ 285 h 429"/>
                <a:gd name="T86" fmla="*/ 150 w 406"/>
                <a:gd name="T87" fmla="*/ 317 h 429"/>
                <a:gd name="T88" fmla="*/ 190 w 406"/>
                <a:gd name="T89" fmla="*/ 335 h 429"/>
                <a:gd name="T90" fmla="*/ 212 w 406"/>
                <a:gd name="T91" fmla="*/ 337 h 429"/>
                <a:gd name="T92" fmla="*/ 250 w 406"/>
                <a:gd name="T93" fmla="*/ 329 h 429"/>
                <a:gd name="T94" fmla="*/ 278 w 406"/>
                <a:gd name="T95" fmla="*/ 313 h 429"/>
                <a:gd name="T96" fmla="*/ 296 w 406"/>
                <a:gd name="T97" fmla="*/ 291 h 429"/>
                <a:gd name="T98" fmla="*/ 304 w 406"/>
                <a:gd name="T99" fmla="*/ 26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06" h="429">
                  <a:moveTo>
                    <a:pt x="406" y="267"/>
                  </a:moveTo>
                  <a:lnTo>
                    <a:pt x="406" y="267"/>
                  </a:lnTo>
                  <a:lnTo>
                    <a:pt x="400" y="293"/>
                  </a:lnTo>
                  <a:lnTo>
                    <a:pt x="388" y="321"/>
                  </a:lnTo>
                  <a:lnTo>
                    <a:pt x="374" y="347"/>
                  </a:lnTo>
                  <a:lnTo>
                    <a:pt x="364" y="361"/>
                  </a:lnTo>
                  <a:lnTo>
                    <a:pt x="354" y="373"/>
                  </a:lnTo>
                  <a:lnTo>
                    <a:pt x="340" y="385"/>
                  </a:lnTo>
                  <a:lnTo>
                    <a:pt x="328" y="395"/>
                  </a:lnTo>
                  <a:lnTo>
                    <a:pt x="312" y="405"/>
                  </a:lnTo>
                  <a:lnTo>
                    <a:pt x="296" y="413"/>
                  </a:lnTo>
                  <a:lnTo>
                    <a:pt x="278" y="421"/>
                  </a:lnTo>
                  <a:lnTo>
                    <a:pt x="258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8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8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6" y="2"/>
                  </a:lnTo>
                  <a:lnTo>
                    <a:pt x="258" y="6"/>
                  </a:lnTo>
                  <a:lnTo>
                    <a:pt x="278" y="10"/>
                  </a:lnTo>
                  <a:lnTo>
                    <a:pt x="296" y="16"/>
                  </a:lnTo>
                  <a:lnTo>
                    <a:pt x="312" y="26"/>
                  </a:lnTo>
                  <a:lnTo>
                    <a:pt x="328" y="34"/>
                  </a:lnTo>
                  <a:lnTo>
                    <a:pt x="340" y="45"/>
                  </a:lnTo>
                  <a:lnTo>
                    <a:pt x="354" y="57"/>
                  </a:lnTo>
                  <a:lnTo>
                    <a:pt x="364" y="69"/>
                  </a:lnTo>
                  <a:lnTo>
                    <a:pt x="374" y="81"/>
                  </a:lnTo>
                  <a:lnTo>
                    <a:pt x="388" y="107"/>
                  </a:lnTo>
                  <a:lnTo>
                    <a:pt x="400" y="133"/>
                  </a:lnTo>
                  <a:lnTo>
                    <a:pt x="406" y="157"/>
                  </a:lnTo>
                  <a:lnTo>
                    <a:pt x="304" y="157"/>
                  </a:lnTo>
                  <a:lnTo>
                    <a:pt x="304" y="157"/>
                  </a:lnTo>
                  <a:lnTo>
                    <a:pt x="300" y="149"/>
                  </a:lnTo>
                  <a:lnTo>
                    <a:pt x="296" y="137"/>
                  </a:lnTo>
                  <a:lnTo>
                    <a:pt x="288" y="127"/>
                  </a:lnTo>
                  <a:lnTo>
                    <a:pt x="278" y="117"/>
                  </a:lnTo>
                  <a:lnTo>
                    <a:pt x="266" y="107"/>
                  </a:lnTo>
                  <a:lnTo>
                    <a:pt x="250" y="99"/>
                  </a:lnTo>
                  <a:lnTo>
                    <a:pt x="232" y="95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190" y="95"/>
                  </a:lnTo>
                  <a:lnTo>
                    <a:pt x="168" y="101"/>
                  </a:lnTo>
                  <a:lnTo>
                    <a:pt x="150" y="113"/>
                  </a:lnTo>
                  <a:lnTo>
                    <a:pt x="134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4" y="189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4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4" y="303"/>
                  </a:lnTo>
                  <a:lnTo>
                    <a:pt x="150" y="317"/>
                  </a:lnTo>
                  <a:lnTo>
                    <a:pt x="168" y="327"/>
                  </a:lnTo>
                  <a:lnTo>
                    <a:pt x="190" y="335"/>
                  </a:lnTo>
                  <a:lnTo>
                    <a:pt x="212" y="337"/>
                  </a:lnTo>
                  <a:lnTo>
                    <a:pt x="212" y="337"/>
                  </a:lnTo>
                  <a:lnTo>
                    <a:pt x="232" y="335"/>
                  </a:lnTo>
                  <a:lnTo>
                    <a:pt x="250" y="329"/>
                  </a:lnTo>
                  <a:lnTo>
                    <a:pt x="266" y="323"/>
                  </a:lnTo>
                  <a:lnTo>
                    <a:pt x="278" y="313"/>
                  </a:lnTo>
                  <a:lnTo>
                    <a:pt x="288" y="301"/>
                  </a:lnTo>
                  <a:lnTo>
                    <a:pt x="296" y="291"/>
                  </a:lnTo>
                  <a:lnTo>
                    <a:pt x="300" y="279"/>
                  </a:lnTo>
                  <a:lnTo>
                    <a:pt x="304" y="267"/>
                  </a:lnTo>
                  <a:lnTo>
                    <a:pt x="406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B49F5841-787A-48C8-A4DE-F10A95C7FF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974095" y="4263716"/>
              <a:ext cx="577850" cy="681038"/>
            </a:xfrm>
            <a:custGeom>
              <a:avLst/>
              <a:gdLst>
                <a:gd name="T0" fmla="*/ 266 w 364"/>
                <a:gd name="T1" fmla="*/ 381 h 429"/>
                <a:gd name="T2" fmla="*/ 238 w 364"/>
                <a:gd name="T3" fmla="*/ 405 h 429"/>
                <a:gd name="T4" fmla="*/ 178 w 364"/>
                <a:gd name="T5" fmla="*/ 427 h 429"/>
                <a:gd name="T6" fmla="*/ 132 w 364"/>
                <a:gd name="T7" fmla="*/ 429 h 429"/>
                <a:gd name="T8" fmla="*/ 86 w 364"/>
                <a:gd name="T9" fmla="*/ 419 h 429"/>
                <a:gd name="T10" fmla="*/ 50 w 364"/>
                <a:gd name="T11" fmla="*/ 401 h 429"/>
                <a:gd name="T12" fmla="*/ 22 w 364"/>
                <a:gd name="T13" fmla="*/ 373 h 429"/>
                <a:gd name="T14" fmla="*/ 4 w 364"/>
                <a:gd name="T15" fmla="*/ 341 h 429"/>
                <a:gd name="T16" fmla="*/ 0 w 364"/>
                <a:gd name="T17" fmla="*/ 303 h 429"/>
                <a:gd name="T18" fmla="*/ 2 w 364"/>
                <a:gd name="T19" fmla="*/ 275 h 429"/>
                <a:gd name="T20" fmla="*/ 16 w 364"/>
                <a:gd name="T21" fmla="*/ 235 h 429"/>
                <a:gd name="T22" fmla="*/ 42 w 364"/>
                <a:gd name="T23" fmla="*/ 205 h 429"/>
                <a:gd name="T24" fmla="*/ 80 w 364"/>
                <a:gd name="T25" fmla="*/ 181 h 429"/>
                <a:gd name="T26" fmla="*/ 130 w 364"/>
                <a:gd name="T27" fmla="*/ 169 h 429"/>
                <a:gd name="T28" fmla="*/ 262 w 364"/>
                <a:gd name="T29" fmla="*/ 167 h 429"/>
                <a:gd name="T30" fmla="*/ 262 w 364"/>
                <a:gd name="T31" fmla="*/ 141 h 429"/>
                <a:gd name="T32" fmla="*/ 244 w 364"/>
                <a:gd name="T33" fmla="*/ 103 h 429"/>
                <a:gd name="T34" fmla="*/ 206 w 364"/>
                <a:gd name="T35" fmla="*/ 83 h 429"/>
                <a:gd name="T36" fmla="*/ 174 w 364"/>
                <a:gd name="T37" fmla="*/ 83 h 429"/>
                <a:gd name="T38" fmla="*/ 138 w 364"/>
                <a:gd name="T39" fmla="*/ 99 h 429"/>
                <a:gd name="T40" fmla="*/ 120 w 364"/>
                <a:gd name="T41" fmla="*/ 125 h 429"/>
                <a:gd name="T42" fmla="*/ 16 w 364"/>
                <a:gd name="T43" fmla="*/ 133 h 429"/>
                <a:gd name="T44" fmla="*/ 38 w 364"/>
                <a:gd name="T45" fmla="*/ 73 h 429"/>
                <a:gd name="T46" fmla="*/ 64 w 364"/>
                <a:gd name="T47" fmla="*/ 41 h 429"/>
                <a:gd name="T48" fmla="*/ 102 w 364"/>
                <a:gd name="T49" fmla="*/ 18 h 429"/>
                <a:gd name="T50" fmla="*/ 150 w 364"/>
                <a:gd name="T51" fmla="*/ 4 h 429"/>
                <a:gd name="T52" fmla="*/ 190 w 364"/>
                <a:gd name="T53" fmla="*/ 0 h 429"/>
                <a:gd name="T54" fmla="*/ 246 w 364"/>
                <a:gd name="T55" fmla="*/ 8 h 429"/>
                <a:gd name="T56" fmla="*/ 292 w 364"/>
                <a:gd name="T57" fmla="*/ 28 h 429"/>
                <a:gd name="T58" fmla="*/ 328 w 364"/>
                <a:gd name="T59" fmla="*/ 57 h 429"/>
                <a:gd name="T60" fmla="*/ 352 w 364"/>
                <a:gd name="T61" fmla="*/ 95 h 429"/>
                <a:gd name="T62" fmla="*/ 364 w 364"/>
                <a:gd name="T63" fmla="*/ 141 h 429"/>
                <a:gd name="T64" fmla="*/ 278 w 364"/>
                <a:gd name="T65" fmla="*/ 421 h 429"/>
                <a:gd name="T66" fmla="*/ 178 w 364"/>
                <a:gd name="T67" fmla="*/ 243 h 429"/>
                <a:gd name="T68" fmla="*/ 144 w 364"/>
                <a:gd name="T69" fmla="*/ 247 h 429"/>
                <a:gd name="T70" fmla="*/ 112 w 364"/>
                <a:gd name="T71" fmla="*/ 265 h 429"/>
                <a:gd name="T72" fmla="*/ 100 w 364"/>
                <a:gd name="T73" fmla="*/ 295 h 429"/>
                <a:gd name="T74" fmla="*/ 104 w 364"/>
                <a:gd name="T75" fmla="*/ 317 h 429"/>
                <a:gd name="T76" fmla="*/ 126 w 364"/>
                <a:gd name="T77" fmla="*/ 341 h 429"/>
                <a:gd name="T78" fmla="*/ 166 w 364"/>
                <a:gd name="T79" fmla="*/ 349 h 429"/>
                <a:gd name="T80" fmla="*/ 206 w 364"/>
                <a:gd name="T81" fmla="*/ 343 h 429"/>
                <a:gd name="T82" fmla="*/ 248 w 364"/>
                <a:gd name="T83" fmla="*/ 311 h 429"/>
                <a:gd name="T84" fmla="*/ 262 w 364"/>
                <a:gd name="T85" fmla="*/ 25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429">
                  <a:moveTo>
                    <a:pt x="270" y="381"/>
                  </a:moveTo>
                  <a:lnTo>
                    <a:pt x="266" y="381"/>
                  </a:lnTo>
                  <a:lnTo>
                    <a:pt x="266" y="381"/>
                  </a:lnTo>
                  <a:lnTo>
                    <a:pt x="254" y="393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22" y="415"/>
                  </a:lnTo>
                  <a:lnTo>
                    <a:pt x="202" y="423"/>
                  </a:lnTo>
                  <a:lnTo>
                    <a:pt x="178" y="427"/>
                  </a:lnTo>
                  <a:lnTo>
                    <a:pt x="150" y="429"/>
                  </a:lnTo>
                  <a:lnTo>
                    <a:pt x="150" y="429"/>
                  </a:lnTo>
                  <a:lnTo>
                    <a:pt x="132" y="429"/>
                  </a:lnTo>
                  <a:lnTo>
                    <a:pt x="116" y="427"/>
                  </a:lnTo>
                  <a:lnTo>
                    <a:pt x="100" y="423"/>
                  </a:lnTo>
                  <a:lnTo>
                    <a:pt x="86" y="419"/>
                  </a:lnTo>
                  <a:lnTo>
                    <a:pt x="72" y="415"/>
                  </a:lnTo>
                  <a:lnTo>
                    <a:pt x="60" y="407"/>
                  </a:lnTo>
                  <a:lnTo>
                    <a:pt x="50" y="401"/>
                  </a:lnTo>
                  <a:lnTo>
                    <a:pt x="38" y="393"/>
                  </a:lnTo>
                  <a:lnTo>
                    <a:pt x="30" y="383"/>
                  </a:lnTo>
                  <a:lnTo>
                    <a:pt x="22" y="373"/>
                  </a:lnTo>
                  <a:lnTo>
                    <a:pt x="16" y="363"/>
                  </a:lnTo>
                  <a:lnTo>
                    <a:pt x="10" y="353"/>
                  </a:lnTo>
                  <a:lnTo>
                    <a:pt x="4" y="341"/>
                  </a:lnTo>
                  <a:lnTo>
                    <a:pt x="2" y="329"/>
                  </a:lnTo>
                  <a:lnTo>
                    <a:pt x="0" y="317"/>
                  </a:lnTo>
                  <a:lnTo>
                    <a:pt x="0" y="303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2" y="275"/>
                  </a:lnTo>
                  <a:lnTo>
                    <a:pt x="6" y="261"/>
                  </a:lnTo>
                  <a:lnTo>
                    <a:pt x="10" y="249"/>
                  </a:lnTo>
                  <a:lnTo>
                    <a:pt x="16" y="235"/>
                  </a:lnTo>
                  <a:lnTo>
                    <a:pt x="24" y="225"/>
                  </a:lnTo>
                  <a:lnTo>
                    <a:pt x="32" y="215"/>
                  </a:lnTo>
                  <a:lnTo>
                    <a:pt x="42" y="205"/>
                  </a:lnTo>
                  <a:lnTo>
                    <a:pt x="54" y="195"/>
                  </a:lnTo>
                  <a:lnTo>
                    <a:pt x="66" y="189"/>
                  </a:lnTo>
                  <a:lnTo>
                    <a:pt x="80" y="181"/>
                  </a:lnTo>
                  <a:lnTo>
                    <a:pt x="94" y="177"/>
                  </a:lnTo>
                  <a:lnTo>
                    <a:pt x="112" y="171"/>
                  </a:lnTo>
                  <a:lnTo>
                    <a:pt x="130" y="169"/>
                  </a:lnTo>
                  <a:lnTo>
                    <a:pt x="148" y="167"/>
                  </a:lnTo>
                  <a:lnTo>
                    <a:pt x="170" y="167"/>
                  </a:lnTo>
                  <a:lnTo>
                    <a:pt x="262" y="16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41"/>
                  </a:lnTo>
                  <a:lnTo>
                    <a:pt x="258" y="127"/>
                  </a:lnTo>
                  <a:lnTo>
                    <a:pt x="252" y="113"/>
                  </a:lnTo>
                  <a:lnTo>
                    <a:pt x="244" y="103"/>
                  </a:lnTo>
                  <a:lnTo>
                    <a:pt x="232" y="93"/>
                  </a:lnTo>
                  <a:lnTo>
                    <a:pt x="220" y="87"/>
                  </a:lnTo>
                  <a:lnTo>
                    <a:pt x="206" y="83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74" y="83"/>
                  </a:lnTo>
                  <a:lnTo>
                    <a:pt x="160" y="85"/>
                  </a:lnTo>
                  <a:lnTo>
                    <a:pt x="148" y="91"/>
                  </a:lnTo>
                  <a:lnTo>
                    <a:pt x="138" y="99"/>
                  </a:lnTo>
                  <a:lnTo>
                    <a:pt x="130" y="107"/>
                  </a:lnTo>
                  <a:lnTo>
                    <a:pt x="124" y="115"/>
                  </a:lnTo>
                  <a:lnTo>
                    <a:pt x="120" y="125"/>
                  </a:lnTo>
                  <a:lnTo>
                    <a:pt x="1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20" y="109"/>
                  </a:lnTo>
                  <a:lnTo>
                    <a:pt x="30" y="83"/>
                  </a:lnTo>
                  <a:lnTo>
                    <a:pt x="38" y="73"/>
                  </a:lnTo>
                  <a:lnTo>
                    <a:pt x="46" y="61"/>
                  </a:lnTo>
                  <a:lnTo>
                    <a:pt x="54" y="51"/>
                  </a:lnTo>
                  <a:lnTo>
                    <a:pt x="64" y="41"/>
                  </a:lnTo>
                  <a:lnTo>
                    <a:pt x="76" y="34"/>
                  </a:lnTo>
                  <a:lnTo>
                    <a:pt x="88" y="26"/>
                  </a:lnTo>
                  <a:lnTo>
                    <a:pt x="102" y="18"/>
                  </a:lnTo>
                  <a:lnTo>
                    <a:pt x="118" y="12"/>
                  </a:lnTo>
                  <a:lnTo>
                    <a:pt x="134" y="8"/>
                  </a:lnTo>
                  <a:lnTo>
                    <a:pt x="150" y="4"/>
                  </a:lnTo>
                  <a:lnTo>
                    <a:pt x="170" y="2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10" y="2"/>
                  </a:lnTo>
                  <a:lnTo>
                    <a:pt x="228" y="4"/>
                  </a:lnTo>
                  <a:lnTo>
                    <a:pt x="246" y="8"/>
                  </a:lnTo>
                  <a:lnTo>
                    <a:pt x="262" y="14"/>
                  </a:lnTo>
                  <a:lnTo>
                    <a:pt x="276" y="20"/>
                  </a:lnTo>
                  <a:lnTo>
                    <a:pt x="292" y="28"/>
                  </a:lnTo>
                  <a:lnTo>
                    <a:pt x="304" y="36"/>
                  </a:lnTo>
                  <a:lnTo>
                    <a:pt x="316" y="45"/>
                  </a:lnTo>
                  <a:lnTo>
                    <a:pt x="328" y="57"/>
                  </a:lnTo>
                  <a:lnTo>
                    <a:pt x="336" y="69"/>
                  </a:lnTo>
                  <a:lnTo>
                    <a:pt x="344" y="83"/>
                  </a:lnTo>
                  <a:lnTo>
                    <a:pt x="352" y="95"/>
                  </a:lnTo>
                  <a:lnTo>
                    <a:pt x="358" y="111"/>
                  </a:lnTo>
                  <a:lnTo>
                    <a:pt x="360" y="125"/>
                  </a:lnTo>
                  <a:lnTo>
                    <a:pt x="364" y="141"/>
                  </a:lnTo>
                  <a:lnTo>
                    <a:pt x="364" y="157"/>
                  </a:lnTo>
                  <a:lnTo>
                    <a:pt x="364" y="421"/>
                  </a:lnTo>
                  <a:lnTo>
                    <a:pt x="278" y="421"/>
                  </a:lnTo>
                  <a:lnTo>
                    <a:pt x="270" y="381"/>
                  </a:lnTo>
                  <a:close/>
                  <a:moveTo>
                    <a:pt x="262" y="243"/>
                  </a:moveTo>
                  <a:lnTo>
                    <a:pt x="178" y="243"/>
                  </a:lnTo>
                  <a:lnTo>
                    <a:pt x="178" y="243"/>
                  </a:lnTo>
                  <a:lnTo>
                    <a:pt x="160" y="245"/>
                  </a:lnTo>
                  <a:lnTo>
                    <a:pt x="144" y="247"/>
                  </a:lnTo>
                  <a:lnTo>
                    <a:pt x="130" y="251"/>
                  </a:lnTo>
                  <a:lnTo>
                    <a:pt x="120" y="257"/>
                  </a:lnTo>
                  <a:lnTo>
                    <a:pt x="112" y="265"/>
                  </a:lnTo>
                  <a:lnTo>
                    <a:pt x="106" y="273"/>
                  </a:lnTo>
                  <a:lnTo>
                    <a:pt x="102" y="285"/>
                  </a:lnTo>
                  <a:lnTo>
                    <a:pt x="100" y="295"/>
                  </a:lnTo>
                  <a:lnTo>
                    <a:pt x="100" y="295"/>
                  </a:lnTo>
                  <a:lnTo>
                    <a:pt x="102" y="307"/>
                  </a:lnTo>
                  <a:lnTo>
                    <a:pt x="104" y="317"/>
                  </a:lnTo>
                  <a:lnTo>
                    <a:pt x="110" y="327"/>
                  </a:lnTo>
                  <a:lnTo>
                    <a:pt x="118" y="335"/>
                  </a:lnTo>
                  <a:lnTo>
                    <a:pt x="126" y="341"/>
                  </a:lnTo>
                  <a:lnTo>
                    <a:pt x="138" y="345"/>
                  </a:lnTo>
                  <a:lnTo>
                    <a:pt x="150" y="347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88" y="347"/>
                  </a:lnTo>
                  <a:lnTo>
                    <a:pt x="206" y="343"/>
                  </a:lnTo>
                  <a:lnTo>
                    <a:pt x="224" y="335"/>
                  </a:lnTo>
                  <a:lnTo>
                    <a:pt x="238" y="323"/>
                  </a:lnTo>
                  <a:lnTo>
                    <a:pt x="248" y="311"/>
                  </a:lnTo>
                  <a:lnTo>
                    <a:pt x="256" y="295"/>
                  </a:lnTo>
                  <a:lnTo>
                    <a:pt x="262" y="275"/>
                  </a:lnTo>
                  <a:lnTo>
                    <a:pt x="262" y="255"/>
                  </a:lnTo>
                  <a:lnTo>
                    <a:pt x="262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5C91509C-E0BF-4216-9F6E-487D88E5E7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015245" y="4276416"/>
              <a:ext cx="161925" cy="655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0BB2381B-C777-4613-997A-889EB18E2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02545" y="3993841"/>
              <a:ext cx="190500" cy="190500"/>
            </a:xfrm>
            <a:custGeom>
              <a:avLst/>
              <a:gdLst>
                <a:gd name="T0" fmla="*/ 120 w 120"/>
                <a:gd name="T1" fmla="*/ 60 h 120"/>
                <a:gd name="T2" fmla="*/ 120 w 120"/>
                <a:gd name="T3" fmla="*/ 60 h 120"/>
                <a:gd name="T4" fmla="*/ 118 w 120"/>
                <a:gd name="T5" fmla="*/ 48 h 120"/>
                <a:gd name="T6" fmla="*/ 114 w 120"/>
                <a:gd name="T7" fmla="*/ 36 h 120"/>
                <a:gd name="T8" fmla="*/ 110 w 120"/>
                <a:gd name="T9" fmla="*/ 26 h 120"/>
                <a:gd name="T10" fmla="*/ 102 w 120"/>
                <a:gd name="T11" fmla="*/ 18 h 120"/>
                <a:gd name="T12" fmla="*/ 92 w 120"/>
                <a:gd name="T13" fmla="*/ 10 h 120"/>
                <a:gd name="T14" fmla="*/ 82 w 120"/>
                <a:gd name="T15" fmla="*/ 4 h 120"/>
                <a:gd name="T16" fmla="*/ 72 w 120"/>
                <a:gd name="T17" fmla="*/ 0 h 120"/>
                <a:gd name="T18" fmla="*/ 60 w 120"/>
                <a:gd name="T19" fmla="*/ 0 h 120"/>
                <a:gd name="T20" fmla="*/ 60 w 120"/>
                <a:gd name="T21" fmla="*/ 0 h 120"/>
                <a:gd name="T22" fmla="*/ 48 w 120"/>
                <a:gd name="T23" fmla="*/ 0 h 120"/>
                <a:gd name="T24" fmla="*/ 36 w 120"/>
                <a:gd name="T25" fmla="*/ 4 h 120"/>
                <a:gd name="T26" fmla="*/ 26 w 120"/>
                <a:gd name="T27" fmla="*/ 10 h 120"/>
                <a:gd name="T28" fmla="*/ 16 w 120"/>
                <a:gd name="T29" fmla="*/ 18 h 120"/>
                <a:gd name="T30" fmla="*/ 10 w 120"/>
                <a:gd name="T31" fmla="*/ 26 h 120"/>
                <a:gd name="T32" fmla="*/ 4 w 120"/>
                <a:gd name="T33" fmla="*/ 36 h 120"/>
                <a:gd name="T34" fmla="*/ 0 w 120"/>
                <a:gd name="T35" fmla="*/ 48 h 120"/>
                <a:gd name="T36" fmla="*/ 0 w 120"/>
                <a:gd name="T37" fmla="*/ 60 h 120"/>
                <a:gd name="T38" fmla="*/ 0 w 120"/>
                <a:gd name="T39" fmla="*/ 60 h 120"/>
                <a:gd name="T40" fmla="*/ 0 w 120"/>
                <a:gd name="T41" fmla="*/ 72 h 120"/>
                <a:gd name="T42" fmla="*/ 4 w 120"/>
                <a:gd name="T43" fmla="*/ 82 h 120"/>
                <a:gd name="T44" fmla="*/ 10 w 120"/>
                <a:gd name="T45" fmla="*/ 92 h 120"/>
                <a:gd name="T46" fmla="*/ 16 w 120"/>
                <a:gd name="T47" fmla="*/ 102 h 120"/>
                <a:gd name="T48" fmla="*/ 26 w 120"/>
                <a:gd name="T49" fmla="*/ 110 h 120"/>
                <a:gd name="T50" fmla="*/ 36 w 120"/>
                <a:gd name="T51" fmla="*/ 114 h 120"/>
                <a:gd name="T52" fmla="*/ 48 w 120"/>
                <a:gd name="T53" fmla="*/ 118 h 120"/>
                <a:gd name="T54" fmla="*/ 60 w 120"/>
                <a:gd name="T55" fmla="*/ 120 h 120"/>
                <a:gd name="T56" fmla="*/ 60 w 120"/>
                <a:gd name="T57" fmla="*/ 120 h 120"/>
                <a:gd name="T58" fmla="*/ 72 w 120"/>
                <a:gd name="T59" fmla="*/ 118 h 120"/>
                <a:gd name="T60" fmla="*/ 82 w 120"/>
                <a:gd name="T61" fmla="*/ 114 h 120"/>
                <a:gd name="T62" fmla="*/ 92 w 120"/>
                <a:gd name="T63" fmla="*/ 110 h 120"/>
                <a:gd name="T64" fmla="*/ 102 w 120"/>
                <a:gd name="T65" fmla="*/ 102 h 120"/>
                <a:gd name="T66" fmla="*/ 110 w 120"/>
                <a:gd name="T67" fmla="*/ 92 h 120"/>
                <a:gd name="T68" fmla="*/ 114 w 120"/>
                <a:gd name="T69" fmla="*/ 82 h 120"/>
                <a:gd name="T70" fmla="*/ 118 w 120"/>
                <a:gd name="T71" fmla="*/ 72 h 120"/>
                <a:gd name="T72" fmla="*/ 120 w 120"/>
                <a:gd name="T73" fmla="*/ 60 h 120"/>
                <a:gd name="T74" fmla="*/ 120 w 120"/>
                <a:gd name="T75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120">
                  <a:moveTo>
                    <a:pt x="120" y="60"/>
                  </a:moveTo>
                  <a:lnTo>
                    <a:pt x="120" y="60"/>
                  </a:lnTo>
                  <a:lnTo>
                    <a:pt x="118" y="48"/>
                  </a:lnTo>
                  <a:lnTo>
                    <a:pt x="114" y="36"/>
                  </a:lnTo>
                  <a:lnTo>
                    <a:pt x="110" y="26"/>
                  </a:lnTo>
                  <a:lnTo>
                    <a:pt x="102" y="18"/>
                  </a:lnTo>
                  <a:lnTo>
                    <a:pt x="92" y="10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6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4" y="82"/>
                  </a:lnTo>
                  <a:lnTo>
                    <a:pt x="10" y="92"/>
                  </a:lnTo>
                  <a:lnTo>
                    <a:pt x="16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72" y="118"/>
                  </a:lnTo>
                  <a:lnTo>
                    <a:pt x="82" y="114"/>
                  </a:lnTo>
                  <a:lnTo>
                    <a:pt x="92" y="110"/>
                  </a:lnTo>
                  <a:lnTo>
                    <a:pt x="102" y="102"/>
                  </a:lnTo>
                  <a:lnTo>
                    <a:pt x="110" y="92"/>
                  </a:lnTo>
                  <a:lnTo>
                    <a:pt x="114" y="82"/>
                  </a:lnTo>
                  <a:lnTo>
                    <a:pt x="118" y="72"/>
                  </a:lnTo>
                  <a:lnTo>
                    <a:pt x="120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6FC42B25-6D5C-4400-9B82-C0D2AA322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94458" y="4000191"/>
              <a:ext cx="288925" cy="187325"/>
            </a:xfrm>
            <a:custGeom>
              <a:avLst/>
              <a:gdLst>
                <a:gd name="T0" fmla="*/ 76 w 182"/>
                <a:gd name="T1" fmla="*/ 0 h 118"/>
                <a:gd name="T2" fmla="*/ 182 w 182"/>
                <a:gd name="T3" fmla="*/ 0 h 118"/>
                <a:gd name="T4" fmla="*/ 84 w 182"/>
                <a:gd name="T5" fmla="*/ 118 h 118"/>
                <a:gd name="T6" fmla="*/ 0 w 182"/>
                <a:gd name="T7" fmla="*/ 118 h 118"/>
                <a:gd name="T8" fmla="*/ 76 w 1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18">
                  <a:moveTo>
                    <a:pt x="76" y="0"/>
                  </a:moveTo>
                  <a:lnTo>
                    <a:pt x="182" y="0"/>
                  </a:lnTo>
                  <a:lnTo>
                    <a:pt x="84" y="118"/>
                  </a:lnTo>
                  <a:lnTo>
                    <a:pt x="0" y="118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</p:grpSp>
    </p:spTree>
    <p:extLst>
      <p:ext uri="{BB962C8B-B14F-4D97-AF65-F5344CB8AC3E}">
        <p14:creationId xmlns:p14="http://schemas.microsoft.com/office/powerpoint/2010/main" val="2820297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theme" Target="../theme/theme6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021" y="1541723"/>
            <a:ext cx="10515600" cy="517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58" y="3389715"/>
            <a:ext cx="10515600" cy="9068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A15BD63-25DB-3B42-A790-8477BD25011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809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300" kern="1200" cap="all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0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021" y="1541723"/>
            <a:ext cx="10515600" cy="517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58" y="3389715"/>
            <a:ext cx="10515600" cy="9068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A15BD63-25DB-3B42-A790-8477BD2501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55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7" r:id="rId5"/>
    <p:sldLayoutId id="2147483678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300" kern="1200" cap="all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0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89" y="15417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306" y="338971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944639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735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50904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6" name="ConfidentialityTextBox">
            <a:extLst>
              <a:ext uri="{FF2B5EF4-FFF2-40B4-BE49-F238E27FC236}">
                <a16:creationId xmlns:a16="http://schemas.microsoft.com/office/drawing/2014/main" id="{FC4BD824-706C-4149-BBD2-A412C5716104}"/>
              </a:ext>
            </a:extLst>
          </p:cNvPr>
          <p:cNvSpPr txBox="1"/>
          <p:nvPr userDrawn="1"/>
        </p:nvSpPr>
        <p:spPr bwMode="auto">
          <a:xfrm>
            <a:off x="4538325" y="6410121"/>
            <a:ext cx="3168352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050" b="1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Internal Use – Interner Gebrauch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86585E-FEB6-F848-9313-B0018C623B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234" y="208734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Copytext</a:t>
            </a:r>
            <a:endParaRPr lang="de-DE"/>
          </a:p>
          <a:p>
            <a:pPr lvl="1"/>
            <a:r>
              <a:rPr lang="de-DE"/>
              <a:t>Ebene 1</a:t>
            </a:r>
          </a:p>
          <a:p>
            <a:pPr lvl="2"/>
            <a:r>
              <a:rPr lang="de-DE"/>
              <a:t>Ebene 2</a:t>
            </a:r>
          </a:p>
          <a:p>
            <a:pPr lvl="3"/>
            <a:r>
              <a:rPr lang="de-DE"/>
              <a:t>Ebene 3</a:t>
            </a:r>
          </a:p>
        </p:txBody>
      </p:sp>
    </p:spTree>
    <p:extLst>
      <p:ext uri="{BB962C8B-B14F-4D97-AF65-F5344CB8AC3E}">
        <p14:creationId xmlns:p14="http://schemas.microsoft.com/office/powerpoint/2010/main" val="175826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9525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tabLst/>
        <a:defRPr sz="17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1pPr>
      <a:lvl2pPr marL="173038" indent="-1635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7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531813" indent="-2143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7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890588" indent="-2143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7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4pPr>
      <a:lvl5pPr marL="12065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tabLst/>
        <a:defRPr sz="17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549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81" r:id="rId35"/>
    <p:sldLayoutId id="2147483782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9.xml"/><Relationship Id="rId1" Type="http://schemas.openxmlformats.org/officeDocument/2006/relationships/tags" Target="../tags/tag3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606182" y="2704452"/>
            <a:ext cx="11404789" cy="1360244"/>
          </a:xfrm>
        </p:spPr>
        <p:txBody>
          <a:bodyPr vert="horz" wrap="none" lIns="0" tIns="0" rIns="0" bIns="0" numCol="1" rtlCol="0" anchor="t">
            <a:spAutoFit/>
          </a:bodyPr>
          <a:lstStyle/>
          <a:p>
            <a:pPr eaLnBrk="1" hangingPunct="1">
              <a:defRPr/>
            </a:pPr>
            <a:r>
              <a:rPr lang="en-GB" altLang="es-ES" sz="3200">
                <a:solidFill>
                  <a:schemeClr val="tx2"/>
                </a:solidFill>
              </a:rPr>
              <a:t>“No personal information” as common API design criteria</a:t>
            </a:r>
          </a:p>
          <a:p>
            <a:pPr>
              <a:defRPr/>
            </a:pPr>
            <a:r>
              <a:rPr lang="en-GB" altLang="es-ES" sz="2667" b="0" i="1">
                <a:solidFill>
                  <a:schemeClr val="tx2"/>
                </a:solidFill>
              </a:rPr>
              <a:t>…to be promoted as CAMARA commonality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4BE3B375-1899-4DEC-9D89-45CD64820179}"/>
              </a:ext>
            </a:extLst>
          </p:cNvPr>
          <p:cNvSpPr/>
          <p:nvPr/>
        </p:nvSpPr>
        <p:spPr>
          <a:xfrm>
            <a:off x="5704224" y="5373886"/>
            <a:ext cx="7778393" cy="1503831"/>
          </a:xfrm>
          <a:custGeom>
            <a:avLst/>
            <a:gdLst>
              <a:gd name="connsiteX0" fmla="*/ 0 w 3451123"/>
              <a:gd name="connsiteY0" fmla="*/ 1725562 h 3451123"/>
              <a:gd name="connsiteX1" fmla="*/ 1725562 w 3451123"/>
              <a:gd name="connsiteY1" fmla="*/ 0 h 3451123"/>
              <a:gd name="connsiteX2" fmla="*/ 3451124 w 3451123"/>
              <a:gd name="connsiteY2" fmla="*/ 1725562 h 3451123"/>
              <a:gd name="connsiteX3" fmla="*/ 1725562 w 3451123"/>
              <a:gd name="connsiteY3" fmla="*/ 3451124 h 3451123"/>
              <a:gd name="connsiteX4" fmla="*/ 0 w 3451123"/>
              <a:gd name="connsiteY4" fmla="*/ 1725562 h 3451123"/>
              <a:gd name="connsiteX0" fmla="*/ 1000 w 3452124"/>
              <a:gd name="connsiteY0" fmla="*/ 1725562 h 2186499"/>
              <a:gd name="connsiteX1" fmla="*/ 1726562 w 3452124"/>
              <a:gd name="connsiteY1" fmla="*/ 0 h 2186499"/>
              <a:gd name="connsiteX2" fmla="*/ 3452124 w 3452124"/>
              <a:gd name="connsiteY2" fmla="*/ 1725562 h 2186499"/>
              <a:gd name="connsiteX3" fmla="*/ 1549582 w 3452124"/>
              <a:gd name="connsiteY3" fmla="*/ 1858298 h 2186499"/>
              <a:gd name="connsiteX4" fmla="*/ 1000 w 3452124"/>
              <a:gd name="connsiteY4" fmla="*/ 1725562 h 2186499"/>
              <a:gd name="connsiteX0" fmla="*/ 1000 w 3452124"/>
              <a:gd name="connsiteY0" fmla="*/ 1725562 h 1908638"/>
              <a:gd name="connsiteX1" fmla="*/ 1726562 w 3452124"/>
              <a:gd name="connsiteY1" fmla="*/ 0 h 1908638"/>
              <a:gd name="connsiteX2" fmla="*/ 3452124 w 3452124"/>
              <a:gd name="connsiteY2" fmla="*/ 1725562 h 1908638"/>
              <a:gd name="connsiteX3" fmla="*/ 1549582 w 3452124"/>
              <a:gd name="connsiteY3" fmla="*/ 1858298 h 1908638"/>
              <a:gd name="connsiteX4" fmla="*/ 1000 w 3452124"/>
              <a:gd name="connsiteY4" fmla="*/ 1725562 h 1908638"/>
              <a:gd name="connsiteX0" fmla="*/ 1000 w 3452124"/>
              <a:gd name="connsiteY0" fmla="*/ 1725562 h 2124029"/>
              <a:gd name="connsiteX1" fmla="*/ 1726562 w 3452124"/>
              <a:gd name="connsiteY1" fmla="*/ 0 h 2124029"/>
              <a:gd name="connsiteX2" fmla="*/ 3452124 w 3452124"/>
              <a:gd name="connsiteY2" fmla="*/ 1725562 h 2124029"/>
              <a:gd name="connsiteX3" fmla="*/ 1549582 w 3452124"/>
              <a:gd name="connsiteY3" fmla="*/ 1858298 h 2124029"/>
              <a:gd name="connsiteX4" fmla="*/ 1000 w 3452124"/>
              <a:gd name="connsiteY4" fmla="*/ 1725562 h 2124029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1858298"/>
              <a:gd name="connsiteX1" fmla="*/ 1775515 w 3501077"/>
              <a:gd name="connsiteY1" fmla="*/ 0 h 1858298"/>
              <a:gd name="connsiteX2" fmla="*/ 3501077 w 3501077"/>
              <a:gd name="connsiteY2" fmla="*/ 1725562 h 1858298"/>
              <a:gd name="connsiteX3" fmla="*/ 1598535 w 3501077"/>
              <a:gd name="connsiteY3" fmla="*/ 1858298 h 1858298"/>
              <a:gd name="connsiteX4" fmla="*/ 49953 w 3501077"/>
              <a:gd name="connsiteY4" fmla="*/ 1725562 h 1858298"/>
              <a:gd name="connsiteX0" fmla="*/ 0 w 3451124"/>
              <a:gd name="connsiteY0" fmla="*/ 1725562 h 1858298"/>
              <a:gd name="connsiteX1" fmla="*/ 1725562 w 3451124"/>
              <a:gd name="connsiteY1" fmla="*/ 0 h 1858298"/>
              <a:gd name="connsiteX2" fmla="*/ 3451124 w 3451124"/>
              <a:gd name="connsiteY2" fmla="*/ 1725562 h 1858298"/>
              <a:gd name="connsiteX3" fmla="*/ 1548582 w 3451124"/>
              <a:gd name="connsiteY3" fmla="*/ 1858298 h 1858298"/>
              <a:gd name="connsiteX4" fmla="*/ 0 w 3451124"/>
              <a:gd name="connsiteY4" fmla="*/ 1725562 h 1858298"/>
              <a:gd name="connsiteX0" fmla="*/ 0 w 3531644"/>
              <a:gd name="connsiteY0" fmla="*/ 1659793 h 1861246"/>
              <a:gd name="connsiteX1" fmla="*/ 1806082 w 3531644"/>
              <a:gd name="connsiteY1" fmla="*/ 136 h 1861246"/>
              <a:gd name="connsiteX2" fmla="*/ 3531644 w 3531644"/>
              <a:gd name="connsiteY2" fmla="*/ 1725698 h 1861246"/>
              <a:gd name="connsiteX3" fmla="*/ 1629102 w 3531644"/>
              <a:gd name="connsiteY3" fmla="*/ 1858434 h 1861246"/>
              <a:gd name="connsiteX4" fmla="*/ 0 w 3531644"/>
              <a:gd name="connsiteY4" fmla="*/ 1659793 h 1861246"/>
              <a:gd name="connsiteX0" fmla="*/ 0 w 3531644"/>
              <a:gd name="connsiteY0" fmla="*/ 1659735 h 1861188"/>
              <a:gd name="connsiteX1" fmla="*/ 1806082 w 3531644"/>
              <a:gd name="connsiteY1" fmla="*/ 78 h 1861188"/>
              <a:gd name="connsiteX2" fmla="*/ 3531644 w 3531644"/>
              <a:gd name="connsiteY2" fmla="*/ 1725640 h 1861188"/>
              <a:gd name="connsiteX3" fmla="*/ 1629102 w 3531644"/>
              <a:gd name="connsiteY3" fmla="*/ 1858376 h 1861188"/>
              <a:gd name="connsiteX4" fmla="*/ 0 w 3531644"/>
              <a:gd name="connsiteY4" fmla="*/ 1659735 h 1861188"/>
              <a:gd name="connsiteX0" fmla="*/ 0 w 3532100"/>
              <a:gd name="connsiteY0" fmla="*/ 1659735 h 1861188"/>
              <a:gd name="connsiteX1" fmla="*/ 1806082 w 3532100"/>
              <a:gd name="connsiteY1" fmla="*/ 78 h 1861188"/>
              <a:gd name="connsiteX2" fmla="*/ 3531644 w 3532100"/>
              <a:gd name="connsiteY2" fmla="*/ 1725640 h 1861188"/>
              <a:gd name="connsiteX3" fmla="*/ 1629102 w 3532100"/>
              <a:gd name="connsiteY3" fmla="*/ 1858376 h 1861188"/>
              <a:gd name="connsiteX4" fmla="*/ 0 w 3532100"/>
              <a:gd name="connsiteY4" fmla="*/ 1659735 h 1861188"/>
              <a:gd name="connsiteX0" fmla="*/ 0 w 3532149"/>
              <a:gd name="connsiteY0" fmla="*/ 1659735 h 1861188"/>
              <a:gd name="connsiteX1" fmla="*/ 1806082 w 3532149"/>
              <a:gd name="connsiteY1" fmla="*/ 78 h 1861188"/>
              <a:gd name="connsiteX2" fmla="*/ 3531644 w 3532149"/>
              <a:gd name="connsiteY2" fmla="*/ 1725640 h 1861188"/>
              <a:gd name="connsiteX3" fmla="*/ 1629102 w 3532149"/>
              <a:gd name="connsiteY3" fmla="*/ 1858376 h 1861188"/>
              <a:gd name="connsiteX4" fmla="*/ 0 w 3532149"/>
              <a:gd name="connsiteY4" fmla="*/ 1659735 h 1861188"/>
              <a:gd name="connsiteX0" fmla="*/ 0 w 3532149"/>
              <a:gd name="connsiteY0" fmla="*/ 1659735 h 1861189"/>
              <a:gd name="connsiteX1" fmla="*/ 1806082 w 3532149"/>
              <a:gd name="connsiteY1" fmla="*/ 78 h 1861189"/>
              <a:gd name="connsiteX2" fmla="*/ 3531644 w 3532149"/>
              <a:gd name="connsiteY2" fmla="*/ 1725640 h 1861189"/>
              <a:gd name="connsiteX3" fmla="*/ 1629102 w 3532149"/>
              <a:gd name="connsiteY3" fmla="*/ 1858377 h 1861189"/>
              <a:gd name="connsiteX4" fmla="*/ 0 w 3532149"/>
              <a:gd name="connsiteY4" fmla="*/ 1659735 h 1861189"/>
              <a:gd name="connsiteX0" fmla="*/ 0 w 3532149"/>
              <a:gd name="connsiteY0" fmla="*/ 1659735 h 1861190"/>
              <a:gd name="connsiteX1" fmla="*/ 1806082 w 3532149"/>
              <a:gd name="connsiteY1" fmla="*/ 78 h 1861190"/>
              <a:gd name="connsiteX2" fmla="*/ 3531644 w 3532149"/>
              <a:gd name="connsiteY2" fmla="*/ 1725640 h 1861190"/>
              <a:gd name="connsiteX3" fmla="*/ 1629102 w 3532149"/>
              <a:gd name="connsiteY3" fmla="*/ 1858378 h 1861190"/>
              <a:gd name="connsiteX4" fmla="*/ 0 w 3532149"/>
              <a:gd name="connsiteY4" fmla="*/ 1659735 h 1861190"/>
              <a:gd name="connsiteX0" fmla="*/ 0 w 3532149"/>
              <a:gd name="connsiteY0" fmla="*/ 1659735 h 1906674"/>
              <a:gd name="connsiteX1" fmla="*/ 1806082 w 3532149"/>
              <a:gd name="connsiteY1" fmla="*/ 78 h 1906674"/>
              <a:gd name="connsiteX2" fmla="*/ 3531644 w 3532149"/>
              <a:gd name="connsiteY2" fmla="*/ 1725640 h 1906674"/>
              <a:gd name="connsiteX3" fmla="*/ 0 w 3532149"/>
              <a:gd name="connsiteY3" fmla="*/ 1659735 h 1906674"/>
              <a:gd name="connsiteX0" fmla="*/ 0 w 3532149"/>
              <a:gd name="connsiteY0" fmla="*/ 1659735 h 1817478"/>
              <a:gd name="connsiteX1" fmla="*/ 1806082 w 3532149"/>
              <a:gd name="connsiteY1" fmla="*/ 78 h 1817478"/>
              <a:gd name="connsiteX2" fmla="*/ 3531644 w 3532149"/>
              <a:gd name="connsiteY2" fmla="*/ 1725640 h 1817478"/>
              <a:gd name="connsiteX3" fmla="*/ 0 w 3532149"/>
              <a:gd name="connsiteY3" fmla="*/ 1659735 h 1817478"/>
              <a:gd name="connsiteX0" fmla="*/ 0 w 3532149"/>
              <a:gd name="connsiteY0" fmla="*/ 1659735 h 1788055"/>
              <a:gd name="connsiteX1" fmla="*/ 1806082 w 3532149"/>
              <a:gd name="connsiteY1" fmla="*/ 78 h 1788055"/>
              <a:gd name="connsiteX2" fmla="*/ 3531644 w 3532149"/>
              <a:gd name="connsiteY2" fmla="*/ 1725640 h 1788055"/>
              <a:gd name="connsiteX3" fmla="*/ 0 w 3532149"/>
              <a:gd name="connsiteY3" fmla="*/ 1659735 h 1788055"/>
              <a:gd name="connsiteX0" fmla="*/ 0 w 3532149"/>
              <a:gd name="connsiteY0" fmla="*/ 1659735 h 1725640"/>
              <a:gd name="connsiteX1" fmla="*/ 1806082 w 3532149"/>
              <a:gd name="connsiteY1" fmla="*/ 78 h 1725640"/>
              <a:gd name="connsiteX2" fmla="*/ 3531644 w 3532149"/>
              <a:gd name="connsiteY2" fmla="*/ 1725640 h 1725640"/>
              <a:gd name="connsiteX3" fmla="*/ 0 w 3532149"/>
              <a:gd name="connsiteY3" fmla="*/ 1659735 h 1725640"/>
              <a:gd name="connsiteX0" fmla="*/ 0 w 3648372"/>
              <a:gd name="connsiteY0" fmla="*/ 1659692 h 1703629"/>
              <a:gd name="connsiteX1" fmla="*/ 1806082 w 3648372"/>
              <a:gd name="connsiteY1" fmla="*/ 35 h 1703629"/>
              <a:gd name="connsiteX2" fmla="*/ 3647951 w 3648372"/>
              <a:gd name="connsiteY2" fmla="*/ 1703629 h 1703629"/>
              <a:gd name="connsiteX3" fmla="*/ 0 w 3648372"/>
              <a:gd name="connsiteY3" fmla="*/ 1659692 h 1703629"/>
              <a:gd name="connsiteX0" fmla="*/ 0 w 3647951"/>
              <a:gd name="connsiteY0" fmla="*/ 1659692 h 1703629"/>
              <a:gd name="connsiteX1" fmla="*/ 1806082 w 3647951"/>
              <a:gd name="connsiteY1" fmla="*/ 35 h 1703629"/>
              <a:gd name="connsiteX2" fmla="*/ 3647951 w 3647951"/>
              <a:gd name="connsiteY2" fmla="*/ 1703629 h 1703629"/>
              <a:gd name="connsiteX3" fmla="*/ 0 w 3647951"/>
              <a:gd name="connsiteY3" fmla="*/ 1659692 h 1703629"/>
              <a:gd name="connsiteX0" fmla="*/ 0 w 3674791"/>
              <a:gd name="connsiteY0" fmla="*/ 1659793 h 1747667"/>
              <a:gd name="connsiteX1" fmla="*/ 1806082 w 3674791"/>
              <a:gd name="connsiteY1" fmla="*/ 136 h 1747667"/>
              <a:gd name="connsiteX2" fmla="*/ 3674791 w 3674791"/>
              <a:gd name="connsiteY2" fmla="*/ 1747666 h 1747667"/>
              <a:gd name="connsiteX3" fmla="*/ 0 w 3674791"/>
              <a:gd name="connsiteY3" fmla="*/ 1659793 h 1747667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11 h 1747584"/>
              <a:gd name="connsiteX1" fmla="*/ 1806082 w 3674791"/>
              <a:gd name="connsiteY1" fmla="*/ 54 h 1747584"/>
              <a:gd name="connsiteX2" fmla="*/ 3674791 w 3674791"/>
              <a:gd name="connsiteY2" fmla="*/ 1747584 h 1747584"/>
              <a:gd name="connsiteX3" fmla="*/ 0 w 3674791"/>
              <a:gd name="connsiteY3" fmla="*/ 1659711 h 1747584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3047" h="1734194">
                <a:moveTo>
                  <a:pt x="0" y="1713061"/>
                </a:moveTo>
                <a:cubicBezTo>
                  <a:pt x="461594" y="783296"/>
                  <a:pt x="1191805" y="-3510"/>
                  <a:pt x="1800646" y="12"/>
                </a:cubicBezTo>
                <a:cubicBezTo>
                  <a:pt x="2409487" y="3534"/>
                  <a:pt x="3268342" y="715287"/>
                  <a:pt x="3653047" y="1734194"/>
                </a:cubicBezTo>
                <a:lnTo>
                  <a:pt x="0" y="17130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solidFill>
                <a:schemeClr val="bg1"/>
              </a:solidFill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03083AC-470F-467D-9512-D937FB113FCC}"/>
              </a:ext>
            </a:extLst>
          </p:cNvPr>
          <p:cNvGrpSpPr/>
          <p:nvPr/>
        </p:nvGrpSpPr>
        <p:grpSpPr>
          <a:xfrm>
            <a:off x="617764" y="2410795"/>
            <a:ext cx="748947" cy="188941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3EEFD891-D180-41AB-8EBB-3EC41238E61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02702EB-F96D-4E91-8578-B24CEE959E4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95B7FF0-55F0-44B6-9982-82E527744421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BC4997-02E1-94BF-687E-B8806C04947C}"/>
              </a:ext>
            </a:extLst>
          </p:cNvPr>
          <p:cNvSpPr txBox="1">
            <a:spLocks/>
          </p:cNvSpPr>
          <p:nvPr/>
        </p:nvSpPr>
        <p:spPr>
          <a:xfrm>
            <a:off x="402700" y="5949950"/>
            <a:ext cx="9492760" cy="361460"/>
          </a:xfrm>
          <a:prstGeom prst="rect">
            <a:avLst/>
          </a:prstGeom>
        </p:spPr>
        <p:txBody>
          <a:bodyPr vert="horz" lIns="121917" tIns="60958" rIns="121917" bIns="60958" numCol="1" rtlCol="0" anchor="t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5189"/>
              </a:lnSpc>
              <a:spcBef>
                <a:spcPts val="9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4000" b="1" i="0" kern="1200" spc="-8" baseline="0" dirty="0" smtClean="0">
                <a:solidFill>
                  <a:schemeClr val="tx1"/>
                </a:solidFill>
                <a:latin typeface="+mj-lt"/>
                <a:ea typeface="Arial" charset="0"/>
                <a:cs typeface="Arial" charset="0"/>
                <a:sym typeface="Gill Sans" charset="0"/>
              </a:defRPr>
            </a:lvl1pPr>
            <a:lvl2pPr marL="800040" indent="-34287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257207" indent="-34287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FontTx/>
              <a:buNone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Tx/>
              <a:buNone/>
              <a:defRPr sz="2025" kern="1200" baseline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/>
              <a:t>Octubre 2022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4FAF2CBB-4A78-2618-2B26-2C4CC9AD0CFA}"/>
              </a:ext>
            </a:extLst>
          </p:cNvPr>
          <p:cNvSpPr txBox="1">
            <a:spLocks/>
          </p:cNvSpPr>
          <p:nvPr/>
        </p:nvSpPr>
        <p:spPr>
          <a:xfrm>
            <a:off x="9895460" y="489792"/>
            <a:ext cx="1818650" cy="6588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36554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C590688B-8220-27BA-17B8-08D977C89A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2</a:t>
            </a:fld>
            <a:endParaRPr lang="es-E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20F024-B9F3-B552-549A-DC28F8B5B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“CAMARA APIs can NOT be designed including (as input or output) personal information (e.g. phone number) to identify the user”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65C2E2F-A333-C075-7A2F-0DBF0E8E11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800" i="1"/>
              <a:t>In case it is needed, it will be required to use anonymised/obfuscated identifiers.</a:t>
            </a:r>
          </a:p>
        </p:txBody>
      </p:sp>
    </p:spTree>
    <p:extLst>
      <p:ext uri="{BB962C8B-B14F-4D97-AF65-F5344CB8AC3E}">
        <p14:creationId xmlns:p14="http://schemas.microsoft.com/office/powerpoint/2010/main" val="702927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A50DDC-A264-5F7D-20CE-DC768FADA7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1150" y="360000"/>
            <a:ext cx="11880850" cy="658812"/>
          </a:xfrm>
        </p:spPr>
        <p:txBody>
          <a:bodyPr/>
          <a:lstStyle/>
          <a:p>
            <a:r>
              <a:rPr lang="en-GB"/>
              <a:t>What do we need to promote in CAMARA?</a:t>
            </a:r>
          </a:p>
        </p:txBody>
      </p:sp>
      <p:sp>
        <p:nvSpPr>
          <p:cNvPr id="15" name="TextBox 28">
            <a:extLst>
              <a:ext uri="{FF2B5EF4-FFF2-40B4-BE49-F238E27FC236}">
                <a16:creationId xmlns:a16="http://schemas.microsoft.com/office/drawing/2014/main" id="{F791D5D5-3BBA-4D0E-CD1D-42DDA2107FDA}"/>
              </a:ext>
            </a:extLst>
          </p:cNvPr>
          <p:cNvSpPr txBox="1"/>
          <p:nvPr/>
        </p:nvSpPr>
        <p:spPr>
          <a:xfrm>
            <a:off x="404122" y="1018812"/>
            <a:ext cx="11383756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ser data known by Telco Operators is very valuable and it</a:t>
            </a: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 should</a:t>
            </a: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not be shared with third parties (e.g. Marketplaces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D</a:t>
            </a: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ta such as MSISDN is considered personal information and sharing it have also implications for third parties to store it and manage it.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It is not dev friendly at all having multiple coexisting ways to identify a user equipment (UE) or device (IPv4+port, IPv6+port, MSISDN…) and don’t know if Telco Operators supports all of them. 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Also third parties would be required to know that information to invoke the APIs which is against the first point.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8176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A50DDC-A264-5F7D-20CE-DC768FADA7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1150" y="360000"/>
            <a:ext cx="11880850" cy="658812"/>
          </a:xfrm>
        </p:spPr>
        <p:txBody>
          <a:bodyPr/>
          <a:lstStyle/>
          <a:p>
            <a:r>
              <a:rPr lang="en-GB"/>
              <a:t>What is proposed?</a:t>
            </a:r>
          </a:p>
        </p:txBody>
      </p:sp>
      <p:sp>
        <p:nvSpPr>
          <p:cNvPr id="15" name="TextBox 28">
            <a:extLst>
              <a:ext uri="{FF2B5EF4-FFF2-40B4-BE49-F238E27FC236}">
                <a16:creationId xmlns:a16="http://schemas.microsoft.com/office/drawing/2014/main" id="{F791D5D5-3BBA-4D0E-CD1D-42DDA2107FDA}"/>
              </a:ext>
            </a:extLst>
          </p:cNvPr>
          <p:cNvSpPr txBox="1"/>
          <p:nvPr/>
        </p:nvSpPr>
        <p:spPr>
          <a:xfrm>
            <a:off x="404122" y="1018812"/>
            <a:ext cx="11383756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 b="1">
                <a:solidFill>
                  <a:schemeClr val="tx1">
                    <a:lumMod val="50000"/>
                  </a:schemeClr>
                </a:solidFill>
                <a:latin typeface="+mj-lt"/>
              </a:rPr>
              <a:t>It is proposed instead to use an </a:t>
            </a:r>
            <a:r>
              <a:rPr lang="en-GB" sz="2400" b="1" err="1">
                <a:solidFill>
                  <a:schemeClr val="tx1">
                    <a:lumMod val="50000"/>
                  </a:schemeClr>
                </a:solidFill>
                <a:latin typeface="Consolas"/>
              </a:rPr>
              <a:t>anonymous_subscriber_id</a:t>
            </a:r>
            <a:r>
              <a:rPr lang="en-GB" sz="2400" b="1">
                <a:solidFill>
                  <a:schemeClr val="tx1">
                    <a:lumMod val="50000"/>
                  </a:schemeClr>
                </a:solidFill>
                <a:latin typeface="+mj-lt"/>
              </a:rPr>
              <a:t> (</a:t>
            </a:r>
            <a:r>
              <a:rPr lang="en-GB" sz="2400" b="1" err="1">
                <a:solidFill>
                  <a:schemeClr val="tx1">
                    <a:lumMod val="50000"/>
                  </a:schemeClr>
                </a:solidFill>
                <a:latin typeface="+mj-lt"/>
              </a:rPr>
              <a:t>a.k.a</a:t>
            </a:r>
            <a:r>
              <a:rPr lang="en-GB" sz="2400" b="1">
                <a:solidFill>
                  <a:schemeClr val="tx1">
                    <a:lumMod val="50000"/>
                  </a:schemeClr>
                </a:solidFill>
                <a:latin typeface="+mj-lt"/>
              </a:rPr>
              <a:t> connection ID) to avoid personal information in the APIs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Third parties will be required to obtain first this identifier before invoking the APIs.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This will require a new API to do so.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Telco operator will map the anonymous identifier to the corresponding user personal information (e.g. the phone number associated to a user device).</a:t>
            </a:r>
            <a:endParaRPr lang="en-GB" sz="2400">
              <a:solidFill>
                <a:schemeClr val="tx1">
                  <a:lumMod val="50000"/>
                </a:schemeClr>
              </a:solidFill>
              <a:latin typeface="+mj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lf-contained APIs </a:t>
            </a: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still having a user </a:t>
            </a: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identifier</a:t>
            </a: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. Including this identifier will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c</a:t>
            </a:r>
            <a:r>
              <a:rPr lang="en-GB" sz="2400" b="1">
                <a:solidFill>
                  <a:schemeClr val="tx1">
                    <a:lumMod val="50000"/>
                  </a:schemeClr>
                </a:solidFill>
                <a:latin typeface="+mj-lt"/>
              </a:rPr>
              <a:t>ouple API design from AuthN/</a:t>
            </a:r>
            <a:r>
              <a:rPr lang="en-GB" sz="2400" b="1" err="1">
                <a:solidFill>
                  <a:schemeClr val="tx1">
                    <a:lumMod val="50000"/>
                  </a:schemeClr>
                </a:solidFill>
                <a:latin typeface="+mj-lt"/>
              </a:rPr>
              <a:t>AuthZ</a:t>
            </a:r>
            <a:r>
              <a:rPr lang="en-GB" sz="2400" b="1">
                <a:solidFill>
                  <a:schemeClr val="tx1">
                    <a:lumMod val="50000"/>
                  </a:schemeClr>
                </a:solidFill>
                <a:latin typeface="+mj-lt"/>
              </a:rPr>
              <a:t> mechanisms used to obtain an access token</a:t>
            </a: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.</a:t>
            </a:r>
            <a:r>
              <a:rPr kumimoji="0" lang="en-GB" sz="24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he alternative of gather the required information from the access token would create a dependency between the API design and access token information.</a:t>
            </a:r>
            <a:r>
              <a:rPr lang="en-GB" sz="2400">
                <a:solidFill>
                  <a:schemeClr val="tx1">
                    <a:lumMod val="50000"/>
                  </a:schemeClr>
                </a:solidFill>
                <a:latin typeface="+mj-lt"/>
              </a:rPr>
              <a:t> </a:t>
            </a:r>
            <a:endParaRPr lang="en-GB" sz="24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527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4C5E217-19BA-1D46-985A-4FE926AE6B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407" y="2816668"/>
            <a:ext cx="905186" cy="122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1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Indic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PPT_Telefónica" id="{E187BF9A-397F-B346-80BB-81D786EEFD30}" vid="{E5A403EA-ED92-AF47-A0C4-B470769CE736}"/>
    </a:ext>
  </a:extLst>
</a:theme>
</file>

<file path=ppt/theme/theme2.xml><?xml version="1.0" encoding="utf-8"?>
<a:theme xmlns:a="http://schemas.openxmlformats.org/drawingml/2006/main" name="2_Indic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PPT_Telefónica" id="{E187BF9A-397F-B346-80BB-81D786EEFD30}" vid="{E5A403EA-ED92-AF47-A0C4-B470769CE736}"/>
    </a:ext>
  </a:extLst>
</a:theme>
</file>

<file path=ppt/theme/theme3.xml><?xml version="1.0" encoding="utf-8"?>
<a:theme xmlns:a="http://schemas.openxmlformats.org/drawingml/2006/main" name="Cierr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PPT_Telefónica" id="{E187BF9A-397F-B346-80BB-81D786EEFD30}" vid="{7A5519D7-1F3B-D24B-A53C-3EC8C07CAEF1}"/>
    </a:ext>
  </a:extLst>
</a:theme>
</file>

<file path=ppt/theme/theme4.xml><?xml version="1.0" encoding="utf-8"?>
<a:theme xmlns:a="http://schemas.openxmlformats.org/drawingml/2006/main" name="1_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PPT_Telefónica" id="{E187BF9A-397F-B346-80BB-81D786EEFD30}" vid="{AD97CAF8-0135-2144-923E-83352C73C305}"/>
    </a:ext>
  </a:extLst>
</a:theme>
</file>

<file path=ppt/theme/theme5.xml><?xml version="1.0" encoding="utf-8"?>
<a:theme xmlns:a="http://schemas.openxmlformats.org/drawingml/2006/main" name="12_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1-05-28 B2C Portfolio Review V03  -  Read-Only" id="{04B5DEC9-A79D-8847-92BF-9EB51D90C090}" vid="{A8B430C0-FB8D-7642-BBEE-46750933188F}"/>
    </a:ext>
  </a:extLst>
</a:theme>
</file>

<file path=ppt/theme/theme6.xml><?xml version="1.0" encoding="utf-8"?>
<a:theme xmlns:a="http://schemas.openxmlformats.org/drawingml/2006/main" name="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63B5271064F84192A18C3E98DE951E" ma:contentTypeVersion="19" ma:contentTypeDescription="Create a new document." ma:contentTypeScope="" ma:versionID="f4cc1c23c9dd3533b4df2a96e34b9ccd">
  <xsd:schema xmlns:xsd="http://www.w3.org/2001/XMLSchema" xmlns:xs="http://www.w3.org/2001/XMLSchema" xmlns:p="http://schemas.microsoft.com/office/2006/metadata/properties" xmlns:ns1="http://schemas.microsoft.com/sharepoint/v3" xmlns:ns2="8199c609-d726-4835-a26a-3c3073857710" xmlns:ns3="51bfb0fa-35ae-4a66-b3d4-c4ecfc995464" targetNamespace="http://schemas.microsoft.com/office/2006/metadata/properties" ma:root="true" ma:fieldsID="4e85f0f68ef2c355ccf27317b8da6122" ns1:_="" ns2:_="" ns3:_="">
    <xsd:import namespace="http://schemas.microsoft.com/sharepoint/v3"/>
    <xsd:import namespace="8199c609-d726-4835-a26a-3c3073857710"/>
    <xsd:import namespace="51bfb0fa-35ae-4a66-b3d4-c4ecfc9954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date" minOccurs="0"/>
                <xsd:element ref="ns2:lcf76f155ced4ddcb4097134ff3c332f" minOccurs="0"/>
                <xsd:element ref="ns3:TaxCatchAll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99c609-d726-4835-a26a-3c30738577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date" ma:index="22" nillable="true" ma:displayName="date" ma:format="DateOnly" ma:internalName="date">
      <xsd:simpleType>
        <xsd:restriction base="dms:DateTime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3ebd722c-8eea-4fa2-a257-8118360c8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6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fb0fa-35ae-4a66-b3d4-c4ecfc99546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92B265E2-316A-49F6-B9B4-07A210554F49}" ma:internalName="TaxCatchAll" ma:showField="CatchAllData" ma:web="{4183e9b0-d1db-4fc6-a53e-afe1a8565366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1bfb0fa-35ae-4a66-b3d4-c4ecfc995464" xsi:nil="true"/>
    <lcf76f155ced4ddcb4097134ff3c332f xmlns="8199c609-d726-4835-a26a-3c3073857710">
      <Terms xmlns="http://schemas.microsoft.com/office/infopath/2007/PartnerControls"/>
    </lcf76f155ced4ddcb4097134ff3c332f>
    <_ip_UnifiedCompliancePolicyUIAction xmlns="http://schemas.microsoft.com/sharepoint/v3" xsi:nil="true"/>
    <date xmlns="8199c609-d726-4835-a26a-3c3073857710" xsi:nil="true"/>
    <_Flow_SignoffStatus xmlns="8199c609-d726-4835-a26a-3c3073857710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94B2F6-73C5-48AD-BFEF-80FD60E3AF18}">
  <ds:schemaRefs>
    <ds:schemaRef ds:uri="51bfb0fa-35ae-4a66-b3d4-c4ecfc995464"/>
    <ds:schemaRef ds:uri="8199c609-d726-4835-a26a-3c307385771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5B8555E-9B9F-444B-AAB1-2A6178826DF6}">
  <ds:schemaRefs>
    <ds:schemaRef ds:uri="http://schemas.microsoft.com/office/infopath/2007/PartnerControls"/>
    <ds:schemaRef ds:uri="http://purl.org/dc/elements/1.1/"/>
    <ds:schemaRef ds:uri="http://schemas.microsoft.com/sharepoint/v3"/>
    <ds:schemaRef ds:uri="http://www.w3.org/XML/1998/namespace"/>
    <ds:schemaRef ds:uri="http://schemas.microsoft.com/office/2006/documentManagement/types"/>
    <ds:schemaRef ds:uri="51bfb0fa-35ae-4a66-b3d4-c4ecfc995464"/>
    <ds:schemaRef ds:uri="http://purl.org/dc/terms/"/>
    <ds:schemaRef ds:uri="http://schemas.microsoft.com/office/2006/metadata/properties"/>
    <ds:schemaRef ds:uri="8199c609-d726-4835-a26a-3c3073857710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74289C7-A648-4EB5-80EB-1A5A2A3D7A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9</Words>
  <Application>Microsoft Macintosh PowerPoint</Application>
  <PresentationFormat>Widescreen</PresentationFormat>
  <Paragraphs>21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Calibri</vt:lpstr>
      <vt:lpstr>Consolas</vt:lpstr>
      <vt:lpstr>Courier New</vt:lpstr>
      <vt:lpstr>Telefonica ExtraLight</vt:lpstr>
      <vt:lpstr>Wingdings</vt:lpstr>
      <vt:lpstr>3_Indices</vt:lpstr>
      <vt:lpstr>2_Indices</vt:lpstr>
      <vt:lpstr>Cierres</vt:lpstr>
      <vt:lpstr>1_Contenido</vt:lpstr>
      <vt:lpstr>12_Contenido</vt:lpstr>
      <vt:lpstr>Contenido</vt:lpstr>
      <vt:lpstr>Diapositiva de think-cell</vt:lpstr>
      <vt:lpstr>PowerPoint Presentation</vt:lpstr>
      <vt:lpstr>“CAMARA APIs can NOT be designed including (as input or output) personal information (e.g. phone number) to identify the user”</vt:lpstr>
      <vt:lpstr>What do we need to promote in CAMARA?</vt:lpstr>
      <vt:lpstr>What is proposed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verse:  An opportunity for European Telcos to lead the next Internet revolution</dc:title>
  <dc:creator>DAVID DEL VAL LATORRE</dc:creator>
  <cp:lastModifiedBy>Jose Ordonez-Lucena v20220606</cp:lastModifiedBy>
  <cp:revision>3</cp:revision>
  <dcterms:created xsi:type="dcterms:W3CDTF">2022-10-05T16:09:22Z</dcterms:created>
  <dcterms:modified xsi:type="dcterms:W3CDTF">2022-11-02T09:0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3963B5271064F84192A18C3E98DE951E</vt:lpwstr>
  </property>
</Properties>
</file>